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74" r:id="rId4"/>
  </p:sldMasterIdLst>
  <p:notesMasterIdLst>
    <p:notesMasterId r:id="rId12"/>
  </p:notesMasterIdLst>
  <p:sldIdLst>
    <p:sldId id="413" r:id="rId5"/>
    <p:sldId id="416" r:id="rId6"/>
    <p:sldId id="433" r:id="rId7"/>
    <p:sldId id="435" r:id="rId8"/>
    <p:sldId id="434" r:id="rId9"/>
    <p:sldId id="291" r:id="rId10"/>
    <p:sldId id="422" r:id="rId11"/>
  </p:sldIdLst>
  <p:sldSz cx="9144000" cy="6858000" type="screen4x3"/>
  <p:notesSz cx="7010400" cy="9296400"/>
  <p:embeddedFontLs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Century Gothic" panose="020B0502020202020204" pitchFamily="34" charset="0"/>
      <p:regular r:id="rId17"/>
      <p:bold r:id="rId18"/>
      <p:italic r:id="rId19"/>
      <p:boldItalic r:id="rId20"/>
    </p:embeddedFont>
    <p:embeddedFont>
      <p:font typeface="Gill Sans MT" panose="020B0502020104020203" pitchFamily="34" charset="0"/>
      <p:regular r:id="rId21"/>
      <p:bold r:id="rId22"/>
      <p:italic r:id="rId23"/>
      <p:boldItalic r:id="rId24"/>
    </p:embeddedFont>
  </p:embeddedFontLst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iane" initials="O" lastIdx="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6370" autoAdjust="0"/>
  </p:normalViewPr>
  <p:slideViewPr>
    <p:cSldViewPr>
      <p:cViewPr varScale="1">
        <p:scale>
          <a:sx n="68" d="100"/>
          <a:sy n="68" d="100"/>
        </p:scale>
        <p:origin x="1362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font" Target="fonts/font9.fntdata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12.fntdata"/><Relationship Id="rId5" Type="http://schemas.openxmlformats.org/officeDocument/2006/relationships/slide" Target="slides/slide1.xml"/><Relationship Id="rId15" Type="http://schemas.openxmlformats.org/officeDocument/2006/relationships/font" Target="fonts/font3.fntdata"/><Relationship Id="rId23" Type="http://schemas.openxmlformats.org/officeDocument/2006/relationships/font" Target="fonts/font11.fntdata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font" Target="fonts/font7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font" Target="fonts/font2.fntdata"/><Relationship Id="rId22" Type="http://schemas.openxmlformats.org/officeDocument/2006/relationships/font" Target="fonts/font10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2864343-33AD-4B2C-9111-771D9D38C20D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5B4BB5D-5D2C-43F4-815B-7A4C511473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442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9400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7785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32475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8" t="21455" r="8519" b="27218"/>
          <a:stretch/>
        </p:blipFill>
        <p:spPr>
          <a:xfrm>
            <a:off x="6860627" y="36786"/>
            <a:ext cx="2207173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003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8" t="21455" r="8519" b="27218"/>
          <a:stretch/>
        </p:blipFill>
        <p:spPr>
          <a:xfrm>
            <a:off x="6860627" y="36786"/>
            <a:ext cx="2207173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0801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8" t="21455" r="8519" b="27218"/>
          <a:stretch/>
        </p:blipFill>
        <p:spPr>
          <a:xfrm>
            <a:off x="6860627" y="36786"/>
            <a:ext cx="2207173" cy="6096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394405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24562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3716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8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84869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8" t="21455" r="8519" b="27218"/>
          <a:stretch/>
        </p:blipFill>
        <p:spPr>
          <a:xfrm>
            <a:off x="6860627" y="36786"/>
            <a:ext cx="2207173" cy="6096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923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9" r:id="rId3"/>
    <p:sldLayoutId id="2147483680" r:id="rId4"/>
    <p:sldLayoutId id="2147483681" r:id="rId5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mekkographics.com/support/ask-an-expert/" TargetMode="External"/><Relationship Id="rId3" Type="http://schemas.openxmlformats.org/officeDocument/2006/relationships/hyperlink" Target="https://calendly.com/david-mekko/mekko-graphics-q-a-support" TargetMode="External"/><Relationship Id="rId7" Type="http://schemas.openxmlformats.org/officeDocument/2006/relationships/hyperlink" Target="http://www.mekkographics.com/resources/build-your-cq/" TargetMode="External"/><Relationship Id="rId2" Type="http://schemas.openxmlformats.org/officeDocument/2006/relationships/hyperlink" Target="mailto:david@mekkographics.com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://www.mekkographics.com/resources/chart-of-the-week/" TargetMode="External"/><Relationship Id="rId11" Type="http://schemas.openxmlformats.org/officeDocument/2006/relationships/hyperlink" Target="http://www.mekkographics.com/resources/charts-by-type/" TargetMode="External"/><Relationship Id="rId5" Type="http://schemas.openxmlformats.org/officeDocument/2006/relationships/hyperlink" Target="http://www.mekkographics.com/resources/get-started/videos/" TargetMode="External"/><Relationship Id="rId10" Type="http://schemas.openxmlformats.org/officeDocument/2006/relationships/hyperlink" Target="https://www.mekkographics.com/product/cascade-chart-waterfall-chart/" TargetMode="External"/><Relationship Id="rId4" Type="http://schemas.openxmlformats.org/officeDocument/2006/relationships/hyperlink" Target="http://www.mekkographics.com/resources/get-started/webinars/" TargetMode="External"/><Relationship Id="rId9" Type="http://schemas.openxmlformats.org/officeDocument/2006/relationships/hyperlink" Target="https://www.mekkographics.com/product/power-of-mekko-charts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400" dirty="0">
                <a:latin typeface="+mn-lt"/>
              </a:rPr>
              <a:t>MAKING A CHART USING Excel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David Goldstein</a:t>
            </a:r>
          </a:p>
          <a:p>
            <a:r>
              <a:rPr lang="en-US" sz="2000" dirty="0"/>
              <a:t>October 30, 2018</a:t>
            </a:r>
          </a:p>
        </p:txBody>
      </p:sp>
    </p:spTree>
    <p:extLst>
      <p:ext uri="{BB962C8B-B14F-4D97-AF65-F5344CB8AC3E}">
        <p14:creationId xmlns:p14="http://schemas.microsoft.com/office/powerpoint/2010/main" val="13020652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ys to Use Exc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ED470B-0526-427F-A7E4-E18E735525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ake an Excel chart next to your data or in a different worksheet</a:t>
            </a:r>
          </a:p>
          <a:p>
            <a:r>
              <a:rPr lang="en-US" dirty="0"/>
              <a:t>Preview your data in an Excel chart and then move the chart to PowerPoint</a:t>
            </a:r>
          </a:p>
          <a:p>
            <a:r>
              <a:rPr lang="en-US" dirty="0"/>
              <a:t>Copy an Excel chart and change the data range</a:t>
            </a:r>
          </a:p>
          <a:p>
            <a:r>
              <a:rPr lang="en-US" dirty="0"/>
              <a:t>Create a PowerPoint chart from your Excel data and update the chart if the data changes</a:t>
            </a:r>
          </a:p>
          <a:p>
            <a:r>
              <a:rPr lang="en-US" dirty="0"/>
              <a:t>Link an existing PowerPoint chart to Excel data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0942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a Chart in Exc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1295400"/>
            <a:ext cx="8229600" cy="685800"/>
          </a:xfrm>
        </p:spPr>
        <p:txBody>
          <a:bodyPr/>
          <a:lstStyle/>
          <a:p>
            <a:r>
              <a:rPr lang="en-US" dirty="0"/>
              <a:t>Use Switch bars and series and Show Bars options to avoid data restructuring.  </a:t>
            </a:r>
          </a:p>
          <a:p>
            <a:endParaRPr lang="en-US" dirty="0"/>
          </a:p>
        </p:txBody>
      </p:sp>
      <p:sp>
        <p:nvSpPr>
          <p:cNvPr id="5" name="Rectangle 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JtXB7Xmfi3BZlo+AgV8FXfZuaAzuPxe3nxXKWaJ3vN+0tZlZZzC1PkyMpq+I5uiWfI3X/D0QLi10zKwpsaOUGqYB5+mCYUUQa6EBQZLCc20x3uePxfrZ9Wb8gnMjmkz+FQxpOV/xSEhv6/TXyilaQHYpEBBldjM8TfR9XPSQ7/snGIkDq5k8HKwACxq6kY8PzFg+fESD9AvPCnZYDT5tt2v7LAUa5NWnoA87puJluM/QbZRDoOcgefOb7OiLGYwamRTkPmn5cnhlq/cNkSxE7wJsHov2KujiZxmnKOPjv6HxQpb14T983JiQXbZln0DGxgarUp4AFYykMIXtUtsdv2XexQ8ejKOiFCpou/7mSnEI6vN+a36kbKHEE0IjgBsQqh4Ob2CBwi4FNv5EjE9a3MC8X6rCHh6cXR9r320CrUg2dbnN/5rSHXju6VJp0Rl1xJcAkzTmhcOCqgJubpL4yZGmyaqp0q6xWlnTkY637kGF+UENhhxeS/B30BZe1vlJz7JMfdSJ9aPeoA45GEA2hPJOTCImwacKOoK0thEK//KFjagRhffdW0EoIZW1V+jPUduszG0onkeiRRGkDoaEe49ilHqwneYHb30/1ecU4x773Avi1mrrQ7jARL3NvCLxWsu3dyTQVGkk5/FLPZ/YHImK0RcFPZ757H+ifoYp3UrsKiGf0LqhtgNVseh4U4yVwTKRa2bgW9IoZvMWMa5IAKO0leccCo+wpbqNMMPDal+1gKqYVsGYTRGv13oboN4Ml+5J5rH9YMWXMhEY2w0eH2hl5RAJmYIiRSsb2Bs1+xit9i9I5GoPgpGvVoLH7PdmRmdt0dOvU1T0emrVqlOMMZD3ovC3+czKXpqjshnouz8/aGZUdgRjiEGcqQshrrJKGLVViTZrKvunhS7EZWgu5TXWX+KzNTHYW02gKtwkM5Au9ZDUjRkDoHvS3oF5N8QuY7GRshXLEtGU/h5DHyip2L02l0/39p+pfQLXbPNul/TNDcX9wqYYPSSiLFw9J3f9XCmBlt61Kd22OcvDF95w7FxPRhsuajFaWEPsWlEELZugew0MGROuFiXE3VQJvTdxJ/+HA5CsBZ46Suaf2J8gSJH9YgXwvpUzQwYQb538ii1d0HLZMaLtg3gzdfSCCP2/pnN9O/Zm0f1azA3eMijHMp1VdXXGCmcZkr216cl042XrPG54gzhKjErFluSQEOonMa/op1aidEosjWH6wOO3S8YBy12T63rp2ioo3RwBSvQyhG5j8retQW1S5y4KVXqqJnnNN2x0xRb/68oEienH1W2xPBYx1LU56U+1/zUGDz4IWsKbpnUgjdef7+chwIF2xFOmgngZ9Mu9F4ItqiKpD3kRphFBIAFUV0kb8tAXyPD6MWXQQMIhbWcYUuGFhBUMF4ScgkjSiih6XIsrflpyO37j+si60E/Mm+aIZkf1+l32gWOZbNhiUR4BK4UXlPuwUNRM2b/DRg5gce8DqEwTT0uR1GQCO9ko8fJ2uthsiRNPsVNEYUI8qSus13onXQi3VjmmKvnwURvevpRFNcIZGd93008nJENl1vNRX6bisnyvXd3mVpUM1gRu9+iwOQkZlrY2HUrbWZhnkpki1hVF9bUqigImJktzO18gow5qcaSxovT5nmG40qDEme5eKiWVsH1UQY5nVZ/C+pM6f/wgdJJnooYkFRuD4xBHPTGep5+r0pb9pFuSW6kpks2I+zaXQbXVwYEV2fI+R8zF6W5mGImx30nVUYwVo4dXsZucCIzrs6aio9OSZis3Wdiwm1grAg69k6xLBEWogM3l7l3Jl2dBa5S35waHYdKQqXyaLD3Bp9NLYlcZGca/lbHmisC83EMyAhGBH2nLmLIBGlCtAM2Km6YBAzW7imQRxbTlv/V5O4hOxpAc6hpDqCLcHmfa4qjZdWJ9s8Wev+Zp6ACLkEw8TBaLrhnU7/ArUzOnOYyWqkZGkt9P0YaslixffyGs9bbh4JahnDvpneUoFkQBYJzDNRhQ8GP9IwVUTyqpM2E74nx1FLtSB61iD8JtQK7z9tAT8+JVLRRYc44/X+Ugt0PDl0q8tLdeFW9cxvNNs5PFJbmAKhcuLhxK2oM0aJS+TAMicAPreM16KE+IlLCEroXVBf2ut1ZJxWZ0GQ6hhvwHLEjLcxxA5dfiiPMyKjAYZFB6LuR/BxgZHdEIr5HeE87FcuF8FpvbZHDHAwqgCoiGo+B/FKD0Vg/3kwTr9ovUSCvg+ZamtPaU1lFur16B8xWjqIQHTRCpXaNCpkia1R/XClwBOSv5hyJ1MihvLyAyujP7W78bSB4+5iiMwrO1K+fWoO/gklWjCPKY0mVXSehGJEA7ARUqNh9o1nQWOksBBJovb0kb05t6LMRUIu8BhzOLf76I5LAM5TRHUvQAsEbLb4xppRQb9EmJH3O/Fyo2Hy6v5iIkIwIh8Pt7TqdiukAxYE5RVp4VqFrsbLa+WU3+KJrUmxL9ov0JIcovrCMYjrEErtpa0lg8hADmyXwewjBfd/q7iHxTUhzt8SlAGSBTv32ez6qohqgAlZV4xcEoOJa9pk24syGaUwpuNvbh0OlN6ANFhTI2SLdQXzj8n/ZbRqlCDYBIZ5xzdPNitCH1CzyOU7SdMyLhQeepcjUJkem4cJpyWUaF6Ilew9+ZIk0vILstCJdxOei2/iM03/1U+G+tpe6R6Su9pGMieO+MFJmcQY/JLz+b7AjAA1oGzToG1187MNLVEJMbByWLCnwln9kshX+XdGoqZpbS7tx95JhfBSIl7jTPSVoP8dNU0xrPSfmDh8t7v7TTFRQUb3Zie/ZeqiNZGjMS4ODsgQKiZBS7IlI/wDjyJKHKfaadvj4Ho3fYhMksdgF/ZT1WYhUydZCCqIwRbJMNYraT97bFBnL+YRBoXF6DCwiY3Fs+nvy9Lc3A4i4w2Ya4g57GZJwnmtrtYeFbKwqvT4XG0tRm0HRW/IbYAclTyztaa5bgK3F78xdW2iGH72wfuT7Lv6u59avznZAlgSOujreu/PqrKt2rO056/9mLtJ+vQ7TmIBkNCUjG5VfyP/1oOY2hAo8dG/l2BROGLMwXSTBlTveOUGDNHVLcmbPPhjNabvn7JEyjMBKtbz32tjEcQqOakQF28Sx+ixdANBKY4BaS10wXG1FLobJWkoSGhJsn/sXmXa3VGZ9QNQrnVYVbvHvjVbL3h0m4wOwLuvo+B14BcaEOhw6XEaTHk+GamGqCdiTshAhnuIYktmS0qpXySM92IYEIJVELmBujvemK3fijjPY2vVXWHsSmopJJnyz+GyjwSXPYsKrCNf0sxmIhcN3+WAeCqfRLuJL+7/NfofmMcnsJ1xsAt0D/RiOt0CCgxinODHPSHcwrwh+BAJtaXE7U9LQgQ+W0wK/UsC4yqqwatKUTvAscOGHRavHxCxdBPpcryKXHbPxJAtDZgrX8G7zsSt1FMQH3yK4Q7cXyzp7NRo9FmAb4u1zQlAKB+Un3xmmvIlF7pJlPBfWwMFJzxbiTLoEN1y2GtJaiPoqoagwDHk+nUWwrTBOCKrC1ZYl5++mpXMXih0PYz5qokl0Rp/B8Bt+vw2tFRkhUL8lfbfEkNQS1BkozaroLb8XhkZ2OhqYagu22lXqJyOKEKYmoFEgFLemd1Sby9+mvCR0L2sSlP97zDSyXrPr/DJxEK424peAuW3B5vVaRizn6VT6HSyKYcxSnGqjnbFT2o/x6jnnmYojUyb1zjjsVnNrhqAgkhdmBhtFL0++7z8d/Ps0/ctvstHrOZFVAOIvJVz+0mYXJ0fm+AufpmNDGpl2Mr9Vy/A3Ac2wY7+yuE8VDr6vn/n5dhTsbz8ND23+87YabM2ldUNbOEQjNgLYUW/3t7VmJnPaVGgalEstabO7h84P+pdPT85Lwocx4CYbx+8v9V0uLEP31J1R6ITfNFYvvcaYc5fjZ+L/rI84Px3Eu30hiZM/TEhLwUvFaAviEK6xipGkolyDBWugFYUclQh7WUfdOsmrXgNIPsYXJZ5lm9jasef7YJSbwvJKEFbp+IOZnIbW+sl7+z/ZIJXGfk77zsWAeVORNCInoDaVzcqsJkwZU6TRxMYobDc4OapK4zkig/5nosYbSCVBujrJL3n5xypHuNHQf1hFpHraYxObXi5cVL1hzGhuM1ZeeT1nxxaLV4b/eDNgdem3TdpePADwQaDA4OH3J0WKGWgjHYTp2vxp0c0DdyoowDzmxWyJwUtOYfZUpc7IPG1Hnde72r/n3JiUd0NinVbCuXVfQtEw+CNWaXCGZZSaM/Bd8tAktRMIAwKYOEpGbTfwBwmkylSaN0BLu60A4+dLb0MFHqWQg+2VzzBoT6GdVdzC026I4XfnVezGJgVmaSkgmW6UKokR/BzOnNSW51ajZclE3pc3Id6rdq44C3DSYUXRjxl9R6RTeVxniLHJGlF8YWffXjQ8DSHnoDgMnH00gYEZWjPlesNGTIH7VLxx1FGN9BxM2tm9kWZepdzJKIZl9Ix1V83/b7TOS2owZYzJ1DutlSoHZpImzkOX2pxLjnXe4n5Z7wl9HmwwPaJMaNi5jFGBB7uG/+TNckXelr9mZBDOYRZl4AAkLx9KCJh6It1P4XswERO0DSexANgwgwiJ1JpD8kolgaEsISQsakI7NPL5DbtZzlyCdGq5pzCdnGFgq/cD1PmBuyg4lU8/Hnm905vVpFS+9r6LKuT751NBflsMZykYFFJSCwUO6OPcACHCa9OK++HTSf0ZnDwxg5SmByghw6olSXrAhArNkZutp4Y7EbmXfIqXxbOgVAIkXHeWr4apM3+X2Gr8F6KaOT8U87TN07wmtpHOfp3nB4S5qo3SNNti8tcFQWjTXYl9iJTLBik0rv5p6Etna7X4H4OoGfCQi/kZWW8Ty7c4t37QwxvjntcOPd86zvqCgBQPpdXFT0ypKjJdf4C9x36rP0Akioydo3Fdq45uRPSHQ937o++ofZyAim6CMK//0S06b3oIGX386go46MlknpC9iQSWSerwc6xi78KndXvhDxyFbiswvyzYeZtljwdihgymVX9shHDBLGeKruDP7EE56cN7tnoOSycvs0OBbFNHm9L7tLgNiK6uuACCcamwwFgE0nhYaxtpEvTPHAYdvW/Yy1jMGLga60ZMFm7aFLkyz/besfeDuYk+2f+n8NHMCrwFf9ejmNFi8kpR3pTIjak6hxMkxvEasPvcWt+ZBUKpke1VYTE/lW1loBZBJmMsfIUPSDZRoPa9iRJAk8G/ZH/W1FvRWLreicOqHReIAVF90iQpUfxLKxXuH1hXJ7Z9rDuo60gHZw+ZUFmOehYASPQPersQtpzUlF5iZuDXEubco13OzI6ViS4L2rnJTpRmwBEWWuBILAF022gTeLrfBgiFnTuDy51CRSFvGpK6UCC4wQD0BFCqt2mbsW52+UdPwT/2E7jWxpHi1S4icWMWqAAVfzeoyL6P1eBgEAD45C3ED2eQ+B/jbPCQH5NUQppt1YENGCiE1Z3LwAMqI/OStwzgnESUijL2VZdwaqjWyIHCiLiMigu/wVfOqp+r260ME7F7XNmwaY+Td35nR7IqTLaTkA9IcYBqy47/xE896eobhtYeg1lD4fICdy56bgw7qhgiAeDWa0YeuwM8H6o5vZiaWgEA4ATc7ASh/g7inmFG3kVb22e+qgVCbPzQR0PlOudsunOvZHTFVgarQ5Uv/URxHH8CluyOcpSUlc5em/Dm3Lr7L8BQW1G6oU+xFK4c7NrG/GCJ4C2eqUk5dPlBgg0YvGq87IUl7U/psMpv+HPNNnhkX9tT1rQBWY8s+ZlBHmcvl3njVmBiElK/VXwa4nR9kvzXMp+X43RGsbxq/Q03uS6jt5uzvLx6vquR4nIZxYt7kuo0qvlgRN4SVvj+ChABp8NmkhmatJpAQGqqNlbTSve/ywOowp93DEDmUsUxPwiF15V3pTdsdsDCY+jy9zgU/CDZmC3a6OA+S89wMEC2lllhz7DjYzJhGX4CxfIqtMGHSgPoOW9ZFUgTyu65dWgs5JSW/4h3YoY9dARrkUw9qCMQWPMOA9mey+3FZPYiSmgcoRskAaCX6WS2J0/jx8OJLTinK5ntkiNuPy6mwNWodbm8NH0V1ry8/Dc3NEjzcqDPVn39Sa/Y6Jy/ockWl1XoTw2rB6688SqOoUPNtVJsT40UYY3O4+FQd6grVuG/3EKS29p33vw3pc2f1pu0V6oe2UhE1LZgX4mSMEQKcjs7qiZIlFWU6TeIBVgOtWYQ4Sl9Kp5JsbLvwRoRa5xQ1A0HiXRbHc3+3nbIN7G5JxvTAQaMhQ483iXzESXoGMbdayX1ESkrc8RtYC9TUkUe/Z3gSHZWLEdLQLcVf8Ue62OyRpzIBHpRPgNaNd3RRcJjhax3725ZF3H6PYTLl+rgcmU5iNp1f1VAjtYdasD5QNb4pY0DlfWEt1NmOMQHmNpYVRlr5ROc0SrrEUaJiSp5iZb1b7J3XvDuwJP4vp+pv/Nxi+ohvdXJqEIjr6rnah380g4Ipp9BRpO/Ego7Sxcu/k8PrgW0PdxUk8hXahRXLotxHChJSGBbWJY4W8gkrEFlfnAQxm4Toi6Z9OJ8ClrBj6nNTFHZZKI6EEd9HE62bKgBQ1/Iy/TtEOuovLtxrSbSwaUqnmC8jql+KI0GjQ+cvaflHUM1wPSEZm/tR4uwuaLwF68NGxNV4GYnwJOnwBUgFGvEvaQBU0Zf6kCYOcLIAcVqzrAPYgPe24MUduB+4lfEhsUORMfyhk4yeZt90hwNBXTtxQcnXJ5hvuFuY4nlziLjHJH0dLOa0zm5xv/Pfmw3l43shyaSd04VwyNZbiOIEaf2m4F4k1BAXcOyGUfhK5p0z1StLlJleo85kuqUSicD/hQcURNFn6ulXsajX98NqdcIAjT9ZXSytGdrDm8lA8wGMnajq2qa/7fKRZ4sVWsrWavcGWGwEFKaoyppfoDNYiPz3Svq08BDutZZ0NpZ6wYX+mFuP3epdKqq403oEgUxPE+7msUAv33bAOnDvLtX1J6nczM8fQi1vG6fiQ8GvAvD/ke5i+Tqlp4NaVuo79C7kdO2q3Ias2IEspY7OIsy0JjlXgdm+oXQtZ4ZNwQH5snumWz6pRHkorSaAKmq4lD4SpsJJAHrVhbNfjX8mQkHnE57nQQjLuGvixa0tAdUmW2/m5mF1R251hR6UWSUQH7BlZmUaxb9tzLkfSHNj/PAWC+1IPMDZne0nIk0QtXLkejAnQj42wM/qpzYWmMOMUh6uOcSrGVFCUEVV0+wV2FEZsDrnD8EDXHWWA/WqdrOXD4mO+B9hV4+cQe/30TEj4rPks2/tnCkOkXq+Lnn9XiQ7ze7+wbUf/kOz57UT3H51hnCFsQtQoJwAanJBtlAnEDqQYhCoNDWDEzsGjaZztS4K8dhPwG2tAJBDvdEvKJBFSoWWMHAXRPV/yaY45L+LzQpZ+GW2MllJkLlco/gRXMtBRK2wSRRGdxmUGleJGx8QHZZGKoRdNgZXCilOoy1cHFXNrqzwUkK2W+F+0iBQpexobLrSo32l0yhgOscl2o0vW9LSFI/kjYn45KWzfJ/TsSPqyX6So9OoGZjZ/golrzmDOykRJB1cUNr8Pouk97OB+AE0MRAkFoUP5TOEqIJ/bbvyJsJfRf++hX33jPITB2MMGYB8RYzYCQ4KGh/NVwLM3yGMAd+y5gtq+doQRmL8Bh6S+4Pn4h3cF6m122m+YDvH53oPEhxIC9yo9pS1O3gP9gwEW07nMRCa7ix9JL3R17R/G5yfiLjJqHBy0ZaPCNd4Q0WYOwpwEFQbq3mHnmq+vE+xkwp0sCLWIPKcr33eo2enoP8cqzkZD/r84Utbk3qevg43mSC21BTozkfqj7qfFi8Yq1uytIiwRecsgLUN4ES5tY50Cb66dE76AVeNsbiIwnbrU+v9UgWBSMKUKTQ0WfZbuwyqcooh4JbgYFda5PP9gXQuFRl6qCOQWKWEG8mRA73K1NHpIG18atvKy5V/zWUorqBTVLCnTUMXl9/+asIAkHGdqPRkwnGKgvSwzsmzQC3qxc3OfHoPLBurlGoGwqsaSAF0eRtleuYdmMgyjnXZGGp8oUMQ4738Agl82iOg1Em56r4C6ibJIN21TYpo0+i1J19xLZuN0WI5qs00SAieB6iVrcfugO+X0CoCN6qBZTDAIZoReP4ikR31/dFP5vQ6sQ55xB53JrxKeHelrHpiJENucnfI0vytKZ7GbGXQWN+VEwVvahRfbnEnVJkE8lcM2H00korfZ8aZUSlPFNS8E8GXkJAswHV1gVhf0+CVwRkgaxNJpSUY+Gsiai7Uc+X6geQnlDi12e7C5Zca4gGj0luLTSpbxDvaCpk9RR43z1IGub93e6s0KsXIum/6Nrmd9zeC/aIA6zQrR6JT6oN7pm5KN6CamAuUg5o81WjLUm0BXbOa659f4+yVWGJCLO2gg6QwQ0gduMsy5bD/HAA1kh9+E3QQAbEGovg7xBbD0qDI+eNR5IcAzEHppk84QviNWy06nYFvc6j0YjtxCBdUMv45cpCGAY3ltacQBRmzF2NyAA6zhJw0pTojsAiI69ITYDbMSGXt2AyYqGXN0ffLrdszUx57p1jgDze7eRyoK2ZjzlDeIpZLmG7mtl1BGqfKHTXMgAr0GvaU5ILOJXrK7aBvLZU4YBVG6OzlroBfPFwLF57gFEq/DEBFHr7xImqMyJ6c0D7IiW+ru2Od17HvGiD2C+oBlx4kn00kpVdgDFOjKyEIsJITPZa9UAuFFgE237X8nFbJavpx/+g8clqtP9g6QeOxySZ6WUYT7FVnbjs8kzpBwvcVvX9pxxhsLuCDsXhrZg9stn8nLLUYNvtwD/agbZb5ofb2dzBMiydUBA43WnnbERbLnUTlNl77ooyoMyqxV0qtbVRgvt3YSwRJk99TwBt8bBTJyx0P6FvgwiIcNFFLtGDy4Veg5e7AWcuVtbaSbpwCQrnRis20Xwjzt+W9InpzjehXyUHk8Jukqrd6ENdWEcTik9rO9mdfuJVcATGqQFa0ewE0FO++3KdQ28IB6EmD4mWKIjO7dgWVN2UswxgKDS7EHx2HuQWBL9Acyf2LZuRpESLNdWFqXcyKjJN7WxiLcjxfwF06Hdrk1ZXemWn4yWfgdMR4K6lm7it3gZw4t5VwC3F3z74BVjN10UKVW0Vw95RpgFW5Wr46c5UMj5AGMx23Kapu2j4kQlE9YY5FQ60yVVkZZG4IG+Hxwgf7FE4qNEowfOFuSFPBEJlataGGXHsnIPscdqUvMfANMlelEe1AjE0T2Id9tuyc51Mz+BGPTlyKnJz9sAfVMm6ksiKb8XS5BsKr9RI/aiOkwysMDfs6qW1L3UHfhzKMbP8J/OInUt3bIMe5fpM3GhtlasAD2npfVaFvhaYKi+eQhu/+zEPP4+6tZYuGxEBY0wN/wrYx9y+v8EYm9I/JiTkMb3HSmoFc+B2dhaEyo00oRaK47xj2pUVW/3U23UlBilyjg4AOrK7OxNyCZkrFOKt8ovi258NLEKsZYKTLUxwUHbywOVJiJ8TdgaX+sJsCn92aACjAOpR+Cbw8LKpC36IHEpou1zfPV0TYnea8WpyG05rJNSnoeet8jc8uef7I3XgUc/cawNfCMB6EvoFoJBVNWOsL2drumT2MyJvIqZcVMbDpPFJSDlQmkR0hIonY8hqw3FcOe6Xiz/caEkRDIMWFpaT/1Qr3TywuGyo2icBYOrXuGX7G0q4THMe3Mk4zEpCV97J4G4yfI+xL+4RxBQzCymu2oWJZPvMsz5BQnvwjaTjNtfNdbrtM5+gElgIpg16WXANyyfi58yo/nuwBeLioiy+Abic66rEz5+yt9Ul/URFitajNkLk90IbD3fwILn+/Zs54R0ri9YLO1IVJifguZ1UzHu38hxZdDnTbB4esE9ua0giKzeleg9q1gO2TSF7mCdZNQ+vknGsjAe7WXbbayd4ELGJ6p6ev1PYVq1PYY90Cbc4s/xnQmd+Xcvyt9rWPY3o6YbWXPS297y2RRcZiTTpBsQfL0uqGmpEeSNnL16ipxOaHJv42l75+UGLyxzEqliFBLLv7Ss+8QIHkeUbdKSSZ9XcI0q/1mgAq/acS4vj/20utuhD/064D1lOycz5e5eBSJtLsTbr/dtekYg6NTPxfch0hJuuJVkdw4GPYnzThyoVuWeVuuAVOKn2CJC3A7ndx0ZCfyR4k/XkM/wOHxgl5LCceFBqbAVkQXU6/PxyvAkubugs7wKsjGvzdKjDEsL0MGaAWawXmLywo4aBEc8Zcm+9U2KxlWz3uqf6Wf8RQttwZs2hG39ooHmHo+XJvtLLkylRjNCd25GDjZBdi2yj/edIZiKXPgQWs1XToOiab5f+J9J8RCBuTeea7Rci05Vb8/paqtqDA5VArCdHDAXiaSfBv4w4Vx9z0gOP29EwkS2NIkf0PPgtAeb+gEoYt6fQsSO7LFRrmXLDVwMLpArM6449PiH7S7kQN/U1gClWsKawBgPmQp+qA6k79pXa4Rb/6b//gQ5dPRkoG/8d3QHMs4iDdJxp857riCkFkLh2MvHG+xNSgyBygPgu7H1TuzhsS3jCrRbB/6Qckowu/gihWinRm+CwG4IRK9fXAXXbihYsky7iBJU+LVo6EJLsg2YJb3XVmM9KJKkV+cMbgmEZOILAsezi+dJTgT7xWQ9sD+4pgtn84hqFT5tIpeWge4XvttACK10uiEodgMpAzPRquhLg9eFSqcqzUT4hBA0E3Xej1NAboLzy4UQtKn3D3go/ndjzA7ORGF9kAXSGqK1gHPwa6sqo6Iijv7J3aZSND4mzoVJ2SnGRh4JtDvFmqIzrUiPs3wkVypDmh7aD6VGF/QmSVngi0+inWIa4uyyO8hlTpsd0l4226LQzeYJsFrqZgA/umiB0iggKTj8lPFPsuw0O1Qt9OYss/1ifvrEgHtFny2FKXRrJ3q0UbCY8hJyDT7/R1UKfDnKpHTFYwe1MAe3hlNsfL+epKQ4J2/nHz6GTR2W7JQjHsjnEvNDezYyplIo6V6S3hyPkxeixSGxnTgMKlQYH9/IVrWj8+iZOXUICwspuakEFruJNKCn70ePcmkr2PKo+lOV/jGlYlriAvHQkunUY6E0oJPGMd/x1lE4g3+4GC+GwB62Y+BznxAdX4Eb22nFNnhpl3DXIhc7n1LNTE7yH218Y5qOQPIP2M2B7D76vkynBevPSXXQ/htTUKtWHjiHe0DAbN2l2kBvLk8a/Sywd6ry/sHS2npfzBTHFKk+ivD6eJSngMvI1R04bSHFiEuvNpk569KJurSjTw4lpghbWwpgy7cuw6FDE23gkvKg64o8bUNzv6oLUpjx79uAp46TPJpsmyn0nf/EzuamyiAs+oy7Q+VUJvKLzDI4bY4fPD+BpSKYg8H+r+0v+y+kTqwFIqg6GtD6gVcq0JUTrPp47zlzH7jRA5Y/kZEuaMuc4M6o9i8bYfG929+nZoxWDFVLDK9H4dgF/kknMPuh0DNVv7IW9C0j20ifspNlVykMDxGXaqGwxpaPcSGfJdqXhN1M9SMCNseVYzb0DKTQOTwHCllDHfzG1zIXiXpIe0TNopRjz0YRGebYFzNtM46kTMbf6sE7gDULmX3xVBvpMb+6CRA/UaU0yeQPDglz4KGEflp0OP42mCtbNY+ifsLUJxZ+w4t9iTXmjzcoIxXg7sXZpRWKug9DaMLlyyV83wK2Eb/CdRQPKtZBbratCmcbensMWH7AWwVtMYLJBuwCVmVyqN1A96seFDxZEvrGvVugOvhzrlQWj+SF3UPdnZ6K7buJ9c3aWGYZhD0U7usbrC0BZNfeS1be/tGZoRADGk7JG+ytBkUmg4pbfDod9mbq0wXdrqbM4/NzjIlYeJ6i+gS1rw8kcSyyuWhwmLJ4Wt7ReQR43qx7czF/Ak3eWd3XuFKrsf3Z2KskMOJOXj9o/ygzlT2pBE2Q8hfRqGvQYbrw6bUQKgWpBE1z6vm00wut22dOvEAz+AvXyR9VZQXSGkHMXok42Po4YNLe3COxDkZy/71qLu8ESXvQx3n3qfAUyH8hPkXXEd3aC9aezJVV52RifdpP2KEd+n88Cb/7g5ggcgofpn4aNup5hZ8YNW3gyHDat+4AbN++y+UMAJxlMVGgKKGGqN0zvjOcwtHf822sArSIg1Bys5OQi1lO5Vlu4qcOy/LEgfrTrBQDqaFKa4D/mz6NJHRQT+cv4dS8nVVmgJrmCYbEGrARje/b96w/dGMz6sAYjb1lnxA3/0Ys4y7tdvp9eTljva0g1h+ETcfOdT2na9UfqGHNYIufexJ91iWWNnPVr+RZnYXd9CtKjd0rxXHcp/aurdWA4fYAFu/a6t+yhpb5l6oHSBD9FYAIal6853W4ARBLDZEXKs5fK9NiHYVAUYJq6oKY2RTTOCitzbDB4jnLfZVK3TbHrnMoanw7KsvrmgUDoRo0NWIALvaOA/BhkZkMbaJJLuEjqTT9uf9N4RmgZuQxmKHb+/+coyXoxzUuJZIka0lsjpMoQua5Sn38H2Z6AWKv5n12cc01H13Rvz1Ud82qhpXAuA0xc4QmJ4i1chCmSjhL7p603xyvCTEAL71JVasDf3Peo44sItd/mEySAKjwC6chRBIX37STibG3V8Yim8FkkjCvepSvdl2MwCFxmbxgU5D8ofjP01itGCqNfgAScN2P404pxnPpc4uIwbRFxoPnQGa0fpPZFnzmSAg1INep2teA2gmbQM8Fse18I5VrR/fb57svseGG6NUIbH51jGohZVU3vqjUSlsVwbwVDVRk+kcTrSXlq7CEhzZ93ty07LCpkfPcDr/rqNHPDuQRpeiNy1YOLrYiBQPooUzFwJiHvmQ3vrWQTDFxvPmia3/w0Vp7dVpQolGApzm407VwjMWzmOxI8fTko7GtdsinMhx7GGGyILTygpc8nhwLwJjpkYijg87W4g51NVTFNXnA3qiJfOpmnSfXH6Yw57DhEzKUNi/jyQtX4Ar5cY2L7qBz0EKN+UZ/LqI7ImCedRqYjOiFrCtRHlyt1xECp9fAqTdCvUoNjE4fQQqLOdNq7FJcprhi9rp7Lrc2Iwojjm5LJFCHNl0/mdsRfQMvTanWshgH2wuEJ3EsVusuQZ8CXByTBo/r4Tjd5XGjnsxRYAv9g8XZgDXTE/nInIhVucOVHnSp6h+1r+5Vrb/XAXACP8W0jFvQEmSS7XF+j8hPj8xbLyUSwdcCvCArTcq8/7i1NFCsTXGwAeWA9lnlluFRtuCs62gCyRbQWDVDPg0tJCQESLVd7ydx1nUTXoqkag1dZIFz7PcDqCp4flkC5aF1C1YgCSAMz8bZE/mpIpB0XkEXg7Uj+UxAgPZ77JVgmvzM8jVIovTRYMtjEgQVjSc/p1rrJ/Oo3SeEdej5nV6NXTJiEDfjEEq3qKuhK8Sy927i1G55gHqCcaGoeuR47wcRaJcEgE+asXs33Y/w1Z8PSIGlQaCR0435RxjVP+o64J6XzQeNETpKqTcx2rAQgQFgTpl2dHiPT3CtEq739yAOc9+lKSV8OCAsuqofnm0v+6dsTzc/oi5uAyjJCWgseu0UXtUezySfx/vFCJK+Adbbe02/1lWyW/U2FALwrecJTuhb9/eKU6vL8rAzrLDwKtH/B7ee8V+eROgBzxMaw6RPvaVnn8gU3HCMcSxq6FV7JTqcwLVYKjV3F+nQqb4jC7l0SgZgHIvZUQk0hrdb+tBD222nzg2r8SNyICyxo9Cy47GLiAGgMMjljDf4xyK2m/Cm38t2eJJ4H4HN8twy520/j+KHeoM1RFGgBRxgodJ0bvMfIAAFEQ78kIBnFpiVP7/p0P7hp21UUYw+yCVbRM7wjbyiUoSuJRaTVqzi5/ybHdnhn8eH3VPMjWPM67ZB7+U1Hw9HcDXv3fxu3M2hAGss3d+d108YlydYBfKTK0Mdh8LA6V6D7U1RE/W2zNuBwEHK5xWMXAzjvMPDTY/3I7vVja5gHHUAr/x+yBvzkHexiUUjUxwnEjVqilwmMH1rs66f92VDRrfu33E7Pure7WGOFBfY7XOu1Ozf7p+9DlSEqyFaKwHhV4AaYVPjehWSZoJgHyqkk7LUIeOHiG0MBidiYPy1BoJo4ad6xMFTioDYDHuO/+REm/7FeIfSiF8U6lERZ3yZVw1tUK1kzPofAY3Z1ay4P+tYaSSnaPZlynsUmKbVY1XZXMq7rTzKp/bUjZyEfyaZ+lC4jKkZsTJ31QhWxq/M6X0GjI0nZleuGRbemunue0U06edfrpD1bmTYAwGXiopKTUqY+1zUPQKXEomyMv9VUgto2900mQ6/4uZrdmEECpBVqNWgmC2iR8FiPPnb8P7+8NtVJXNkl6KNtdiije5sGgRRgCIzZDWtzz8E1Zt8465X88aOpLagVl+JMCLS6klvJn7MDEKqyHL/V8Buz8r4Zs2nBrKLdaVAXRW1o9RiDc8NpV6+pW8V8xj4BOZrv37Zzkw+4KYvt9HoQSh3dijjomQn4NFuOLytpUZ8MLtMbvD5DZHhpSnajtU9sHVSVV0zEy78wTCV4/NJNvdT0gUSHoHDXqfGiuL8OZ/kE8Rnkm2/ih3yfpB4L1xVrz9eGDOMaAYDs8TauT+w21z8SNW0ywJ/fW/ToUs9rR3letwGov7MN3y1CzJ+YFyNnyCEX8KpXcD3YbHULigw6+XFoHndM0SHTCvxkaToTaksHOR5u9eUGu2Do+8+7oc1h4Jz1i4H/9FL1GcrgMvaPVdUpuU/Ig2129OG6MTPuhn4jGlx6vMxT81hnLLkI94Sd6wWGgoJAahdCtsk/PYSQAU+hofEeiRPOgIZAm+INoXlMvT5KM3hSaRa0RGEwHg/AXUJKGIGizS9jgBwKMz+x7xAJbCe9bmrUP+EIFS80JQym06PK8V2QYJKWFcg3Ac9yVTgfKt9jm+DaicqlEzW5bHxA8my3gFaSddHdnBI847KdZ8WMKrC6EElgxM2FB5Yc0nqaU6S1ED4Yg2v/tzWbwKvp53iNeJtn0YnNhnue8/6TtOX2WaTxicThbVV0TRNOMoI45DGbsbrIbYzlvihFT5zyGZ9FPjyjWtnL8GdTPrDHhZB52u6gNyMua7fwCxtBt0sWI9JEYXacZyoiLZdJsmvwjQt+J/M+WmM23VMXytOAWkYDAtQ6IX8EnT7qb5mxYCzon3tjXL/JtxguFMAoIJ5jBWufy2VQkIcaExSEVfbWbuj/V91iW+LtUuGQeFqnTYpOv6XjByztEBoTRqtfa8LJeYUDcOMPz/zvpy0peY8ebSzge2IbdU34hfNtSdZV5qDb4QVQDrmxd+pZltDB48dd/XQ8d54mezZhy+Z+lRrzpbIYbfuM/YJiipfxgNUzIAyoLLV/41BLQBJ40omOiH8xSLgQFRZ2fr9BU6TNDdYdNFNFn/dm3MbmotCY9KOopcaCq9wQi4eTBIoppwiaktscfb9iCa8TfO0bJny/Rfb7b9IrvPIY9bEkpgVastHDWpsepJJsw5KGGbVki0X30E2wLLQInJ01E055QyFanQ1l9bYcYQxUlWJjxvE3TYfSeoA3y5KNIfzVcYCg7OlhVZecwXMwiHz9tACtQO9ieYZC5SSL0aewe2jjbrZ2ZiQ4jzjghr4IFshn3L2AhSbwZ+FC6Tx2gAKvFQs9K5d7mWa3wAZfv1rnD5lIYv0fPF4JDLN4gdgjzDU6JMUZAJvmLHdwTu9rcDjn/hbQc5ChRwh2gQtq+S/FRZxUGi4EHY7v0roCnxEZ176lQeVFLWwkuereOKE8r2YyBfyWWdcocAjoje/myTBlxXNsc3rL1d1TZyvr4a4yaET92ATVGJvgO97U3h93CLBGvMeU9CuBnBfQynWm2q69e5WGe2ql7+6Zt7AU8AiMfT6ZhRmylt1cHwlsCnxAyiREf5XaY4VX9U1z3yLbRL4yeSFS3GAJDl8nJaVMG2hfYqQdbNAPUawTAfsVW53CP2uucxhEpr8GG0An3HWk3Oxt/0B9qrYv4fpaJA1A59Vl8XQloBUcFDSp7QKq59UWfJcxkFbQtiBMrCu2JP7hAlOQ0apmPdU23F2hc+QEjqX1+4/NOxqSkZHITSm6KMCdC1xqSITL2qMA8VjF1cYM56C92E9KRJ5okeI45rH/pBpM4qji0GD/2DutvTEtkKD42OcMbUPpKtVzh7ur25Co8Hsg5O+i1A3GfgIZjsBHNstZkL/3fB5yQrgcZn4+lenJFLqpQsQyCtV8FtzGYfb0IhEkTsPpDdGWhI8ZJRC08yvCZ3EHVCJjiQ9pNnDiM4FUCb7YRaeYpgkoKUoQzE1uFbfy9qxxyUtrTd+9YCUh9bYkIoUAcR93Dl8peqW8OVEfVmDONZ+bvJu3iS5WG0Jv5k1Rie/0XNKkEjW+q60nOu2qBBYwkkh0UMRtWZCwwR1j8WTHLaUCeDRZyPWzfDcG+9Jgghpz6lNA6LNcxALOxwjM9L6RpmC9dzULxo/IoWElyLG/sJrRKkUGW1Uc4CkGS/NCNRu50HMAes4e4KEcD24XbXwEiJ5ahQsKMJytpE+BBwPSrbU54YR04wg3Vb0Ha4xHXLulKqCWpU1IpUDaEqrUzbDZG+LiOTf1hs9DjXACoXyms0I7VtXXbwfEgI4hFXDwcuR1pN4a46kE5FIA6zPSX4uEiprnxuXxNd7fH/OTjqmqyJwKeCPJd9FkEzCu15gL05uMH47uPajaIXOqR9OXLd6mPgncpEpYRZcVtwXBOEnUrQdqFrpXjjzQ8lcxGrL+AAUxy/2Yvew/XLX1qgCmJpGJRhliPm9bfQPuW0+rbamUfaYWeYoxFDg9UK2Nhtggc/h4qHUlF9MkLJyXa9Rz4RQ9JaErk4OUj8Zv/MN7GRoXkb+NtgK2ZnhfmNss0DzTOFflmXGbkPU7QdujoLivpjkZfwzLW4o22vQP+iieFv0Pr60iFOdGS+r4CcGgDv9RpaoCcWtUGav66I9/cNrqdafRiu0RN8ZWxELbD6TFjkoNztjK4MgQYUM6lYFyIH4lMNw3w9oMM5e2jIT5lx952ZvKUPN2ItebpJy34cRuVdjjRqtAsY6xsGZnz6MPWBTwZ7ix5m2G4PgxK4pPI+LCUhKV7CYickLjwoMEhlc/gVKklRZ0/lsLPuYytp/ZLYxaUapINdlOEn6wToXv+Me4DnKbP2uUf5m23u+mvikF5+2jYQ2NY6x35irpJHjoLj0CvXWkLAQGJ4ya/A90XzTw2/2fjaxNnyaZx2YEBEOcG+o0t2YmPbAKY9DZv1cFw/hyBF2AXRgCSeUTcBIaNGDkSq53MWbNREucOkr2BWK9UK7TGa9CpW0EGoACp4Vb0Bw6JmI/oAjWl2ukWRqGedBtH5rvUKvyQU+n8fa3Vvj7htGvZ8JxjYu5uOsuYk3EzN7QtNL127AJ6C9dsC5/F7IkOGNAKA0y4Lp7IGvw4bDnV+U05CSQDJ2VZMmcIWxIF3rhUVJYIdDkQe8kJgQU+eJM5ffPRMOLXpjbO8Lfa67mrRNkid+YZkdOq1Kzy6XArT1ruSOe5uEp8/cq6BNyc22l0lM3iS7BVZbBx+JvWr+633N2oh72U79mwnkrXDOQqXKmxbsJMvT2L2lYhq4KY9ZJQ/8AEJw2sUe3qvrLLWAWsrcHzACgXYaSgTB6V6HWuveNZrlNAQ9lvEVq8h6RAkqqJvDMn4bCrHaoVPKaoBu2uuytO6hmP+9S6Ozpu88c2NFe3ELeLn/eoTo0AUeSf3emnhqSfllPj+N4OPy4MOHmUy73qRwcsdj/2/Szegj/PedqF5T/XHfCqnjpiN7Rx6VNvhSP5mGSfOJY3YgwUFX3aYkQrIundIdudAM5vkEvx9f43JE8hoSHgklToJiZc7oIARfELX4IugjV8v/LZ3ibDqDY1AmQW6hdQ6odjf5qUjuMSEtmnFHwMq7rMsYgOSR6gpNAxOuTJiqXk+8cR6VG5bcnvOCYMebKYtgU0Od8k5d+SAntYTguqFlq6fsXJwwd4SxbbswJ3L/h2DTn1KfTQISr9g64t5n+I2RZCRnNYOYKXVUUf2OCf6+IHKSjEd4S3s62pMsAZW1t5RQjwAcO4uGGIwWyLLiUejprvs4aB/L41AoI75M9P4Xgo1VIxEoyEgByIVaiFsLKwpKOOulii4DJGRjauonxUZyBtnEkUMKO1dMy7/ZeYTLbXrgeaaoFLSYZKW9mXkH4NfdHoAvdQSzgYzf4J+3KJf26lr8WjPMBaeRbDJbgQf6Om/26rbcr1zW/01L47bAEfzX04w8Bt+sCsML+RbM9qtaOS4ouBmI4Q3hq/gZcE82yu8wIr+gzStKtpQUw937OoW/tD8lJUX/XGizboQpu6AQKEjV14JT/7pBLP8/bkV2Tp4E40pZdZg6tsQw6tGfPnwWeemuFfAsH1xV0JOf0n4ePyNSrYwFHVBM9gQhKxUVP8wo/bd7IPysISWC19SPdQGf/FzyvsJHpST7hvy/ZrhTOCgMz2+z95tBOdhT49u02h1qw3IllgiOdDlTdcrYnlfNzg8/pi+5X9Xyu1tgnYJJ2StYIWOMmQvmkEfxe+Tqrr3mcfZrsmCsIgxJNb9M0OffzX54E84sWUg5kdCCVq1Nn7dYqEqR8ReGGy/t8Ok3CJXaAEOpc5H4v3PySDuGK1qohkL+Z6NGaiBu/MnI1sSsFqIaCXEJx4053VqQBjcUTkQyQBmSq4l7JPX9tTT9mOURkUvy0EqGbIEJ/s5h6tLf5cH15Zt+TIXHJZ2sMV6nyL0CtgFLKVWUzWyaoJOhI/PefQQXtQEJ5gMDoSSBfun9iPoH5OwW1MDXB+srqCbnCy63S/cyJblwlxe+v2d917LdGU/8NZRaUF4xSQ5wlGcyeTgXen9MWBk1GETmk4Z/VfzH2yzolNvQzT1YQIkJb/elf2DlbdLIa1Kx67thoiRRBCDKJXQwJ/CnFdxLSFjzBiVVjkT2Dargc//LtSpAFf9/amO33ZrN2K9FEtJ7fTM9T11txXI26NAMFjLugXEoaN3TK5lmTQfc646RxsA+3DPLE8e3Wm26YSuOwaFnwLEjvf1w6EJkbfnzWxoLkWMlqMFQB9Zmg4joiOjKBRGeUkxQSxbaZnPFgnxWo3PzJIYOqlM4dABvqgYaS2i98vBYAC3W2nhpQZUWWSfWwRrIgJzmhkU6M4H9+d6WPB8xEUkYHn7BAAveFqWfH+JUolp4DTYodoomSEb1vj3OihMB2qFPc+DqCxmmW+xrS9QS5ZBbbSWmC7T+uUeujoSWdmBrza4OuzFBe1sOX/hhquarMvBUOraUK3PGqX2ZFYj2Bgi0qM+qaLfyLK6IuZt/bzXFawRCUaTLQu9PFAgLpp7h6zQqNYLzqB6IpmKY7MMcrIQcd642XLNK5G8RCA3hoOKKuF8tvfl52LmYEgKGqxYMAxwspD6XEWHCXGgX6oEAdI8LWwgepUa+2t+W/IBkj31rZwg9TAdD1yN5eHrIeUGdxtRzUQovrzedRoc8YpL7/uJYiuWrNPrCACcREzkLw2IvmCsUGaY9sECbZmnisEm98XiZzn6mmj8ZF/DVkrnw109PzuoXcFAquJJQAlCIuNcICHB7P5Mxf8jxjWEThiT4vqbu2Y0dofUJj0tGDILsFHYD7RemHXafwiU2TCqFRuOmEx5IixvGWXiqIhLlSSoOVPBqvcH9AU0swh8yYyW0YCXqeQLX9W/WSRubfaoJfeE6vDrkj2XKNIGTI4toCrJ9ttnFaxr9rRSUhWFmpFbXGE7qAqjD1sxbPYrh/iz0svvCSOnE42q4eUSyj/w817Xix8zzdNRSGn+hCpM/2cTz7t8KLz65dV9HnrUP/ncIwDuRlsRIxaZLsBoR6H+sdBg90Jcr3HycyoqEhynGsBn8dasswO5zCAWOEV5bJbplUjW+o5f73MCqHNhElhf1HZ2OzZL+qx+VdmXZcAGeJQbMBtjt4EGNfNKPqCNDq0cLF8tnY+5HhMkjBtkm8R2bWMfEaYZXLRgtQ9+tKyjhHJoed2wk0IsedMeNeU3hFrbHV0ic3JybsQxmKxV3s65CjI5tKcbpLhr1d9PTVVd05N2DUIxi/ELuV9kThBb4VXXN26VBzO1Ej8myDHgMB8FBdpKOfAyAAML8DNVyNnbSb3V10VzfkUmpmWdK3avfUTqF/3krdIDUEwZFu1pN7pg6l/114AYwMIKp747OIQy4y9G1L9ovOFabT+zIBbjyuyz3b2/goIEcl0JrytM5F1YLzzM2F59BLSB2B73hOtBpb2pJV/iPiZy0nyOharPF19QXz7A3J9GzCAVKZd4XbOcdez1cGJ81nbtndX2vXE7bVfJJbQs1ZroozuHUlI+mZVbas+DIGyzmrUFT9SQO89Ueo6F9Ai/5PIo3j0ArGP+RJb4p/JMf4OayNHGaudjSXvtvglZEduUnly/XxkecNnbOBauds0PC+5Ke92YY4W8ZaGLIt/PA4lqcdqon31llNZYZNYSpkwGasjjJktjjUjOsWaX4dvm1nFBs/a9hB5F5Fp1dwuY2BpKOqQE69/xJO4FZq+7lYMpf/+Dr26hoPaUqBccijmo27blINZ0ZBrv66wyIF0C3gx/6nHwlgkwwJiAsLs0WDWohLR/U8I/q0HpLTSuQIr6oYz2QnvBNNwbB5b1HoJCCTwItQy505+q5hMTa+kKiA6INlm5xt2Jlgha1XKLXfEjTrapXk4vd6l/CY1E2MeqBNW5sn2w7TMpCYtIbpwFe8006p/Om3uKsu3MdVuADxz6TAiFTU5dz6QcjUylI2PxphWsLskbLLfMnos9XngG8I6fDmaHSUU3vZNhgO/XbB7UrpAZsPW0HT+tD8nAw5PLQ0mFO7FOF9JKL1CF9sUKLkyt/JhXGWpnwYj2IQEBYml1ZXL2/QSVwjSTVfBzOZ8quG7nvsel71bAQEk+QzVvt0wD5deXk1bbrW615us7N9/HQVNG3hnvAHR8Svt5YSyhAYeNjcrGpk9sovzWyRZ8rXD4rW0KeuWGzb860UKUqigHEekiiCDVWlLzCZ+BMBY9V3GyDQfTHAFkVJUohaPgehifq4KFHgeLRWLISzRdr2E/BlPVd4gOvK9ljl0x0/lBfYuU0L9/q5myGaQ/YUtFkLpfYwkb4yGp3ckRpEcbtPD5yt/BXLtKs4lVVkXLyEXxFxZwTQBpJEx8WxDhPYh0/e/boK3R/hHuzEAStFbuKSA1AT0hbUIXIbCPUUZfjL09nzNz3w6dpSeocc/npSHPTmS5N3GkZut+fBH1hX3WxPSoNbWQpZs/jef3SXGS7EgeKR6Uayd3IrjH7hOyY1ljfkWwaWAtDOMz6R86Cqa5AC6DEe+oCFJu0TZVZ6vzbrqF8LLWYQlMWKfVjrsQO7CrVhk1x6ZzBrDyVpgheqevUEIMzhFHHn7zENh8NYxprCoLkTm0w6tLe85RPH5SJZGJrGSF2x2wvh3Jud5rmSTYsiu9TyII8yf5ja8IKRF29Z45r7KCLAAZTc44KuzQnQyqdVClHAyWQPIkOFTdTUWXXbkABCTw/kaN9GjFxWCyijEGDj4m7h0Q+0Nbcl/+F5cvTrsyc2WhU7z6MkAXn3eq0IoZA8CQlyQRX9Yl3bIvIUs9txY2u+4PtMEJQ+x+OV+DX5lxWfKpNFMkWtXInv64nVk5SCKIkO7VB22XqxsqYbtk7LTynyrB7hoJBXAOxK7vGAk5LxbIXefX96A6sqg5wIEfMIZw3Bunjldr0QRI7LBGUIjIMf3ZQU3NZUP76XeFgHGOyziD3T8gciTxhAIgAVfHrPgB8Q9G1g+6NnWCFznlA8DJ3H7wJkL2gwTN9Oh4yzq63+74Vfk/dz8UkzaynU9+QAZ8cCV6UVEqA0AXOvnnXjYHcds2ky1Dd62xSnR+BeeOrilL43R7egiqUb97cg+s0IKtEFske72b9CMoAfOOdk0g8ff9nBjCjlrN4IM/Unfm/XLNX04t/RY7bKq3W+BnVXp3/HdQv4EzbPLST4hpagKUl9GATe9L1UxzdZfeA0MU4cDIVEjiEOYndmWu1WcqLL27JLhWpVRzVtFe5FMJ0nQXTnCUlEQh4bmC7WSd2lFpwOm8d/AtMUAWH1spXAdlI3bYOWjnT0sE3TjkxkMTGkDv9mew+C6purYBP9KcVIS0qtowjOKL8qeabN1yWihrYAqs+9h8Fn33V/EtVsRzXvAFezvKx1KnPKRFbyzchMARZBGykzakpjzoNPfLx8+B58naSH/GPKFOYZkFS6mkvg1nWw0VUko6fSNdRb21fgkooXw/eQyQIukedlepMas9KKge2y881mbVATBXYz4tshTGO3bMrFMKlczJyIHKcvXZJgUoUM20vx9Qzjp1v2xRvDke1cm+Bwce/z1vO8/AZ0EjWvnCtkE5o4QS41FBlzxfXo1XYvU8h4hwdNWBErVuLDrhOXrjHgXSzf8+Y0gc5s/zpMnWp+F8qJgFwb9X9i4zsj0VcPGZWzzqVOPrl2aF9oJx4C4GrgULpWkSCPkb0E0CmwRzj6gEyOZOywyIxyXwnt1z2UT10L1cVBE4F8uBE8wmIPqJ94g/fht6PfNDdEAFG3NkxBs/LuzjP2WBdwtnkLmspRL5YbRtVdu0ODhBYoxkBhzxgwJxcWscI+xTSyE0K8ZfoqdQ4KV2MHPg8v5ZPeQ6Dq/riPoboSPMer3LAU/6x7SqmuT26mI7pKvPH7l1P9IyXfsF7A4B5ofQ+dXkMrckDUm00pksOYHyMXZ8cdCvFWDhq/o+SM0r2PL4R1AgefkJHudriYAG8hRGjpN3n1f4F1kuRfN/aakGm9Y9djb3+bvYI8Q7Bl1jv9h7EyPlR45PaGGWTMEVBNLbe8nkBa6QeoRXEWm4DHBxMG09C5ub+5/PRJVD/2r9Wg86XXmWHyu98nyIFNLUJE7TahchmzrWuwF9o1TMLNarmEbyESZbbUlGRDJE7W/YUxlxtOCdrDpkUSGbGQq+SKfqOFGUyKdZiGTNDkKefir2gQcRCVGltBX2VXwbTUmGkN+HggmGZjoQ6B1ZC74T7zpZsaYkEkzHcssViR6e6VamX90O2Ylhal5Qj8D6vliSbsQHJUdJcrW/XPrrvERYHyemk5PcO7NIv3de6ZpJ2TLUme4DAo59lUUFeSaCXby6zayGkeYAIk3/EjqkYDQdWtJd+VZ59ZavDKpPUn4K5CLlwUhJxo5prT3dsAv2aOEvLHK1I1IJtkP8SSQ4Id1c5s08inNDRBg5X8aAZQRnGAHn1yuZanq4SrSnTohA3s+JEgesy1+E89m4o2du93s1Fiv3Jx5mGrmF6e6r36vCTCeYzKM5UP08xBiPQuCqtZV/fFZDBrDYHMRxjtR6Iq62e2mOSM7q/7gwbvv/agPQyCrt7PIBfACYmK5l2E9hbW5t0nbHlw/ns68hyCa0+Vqn3l4RZwDzBA8X4obofY8My9Hgh8H1GxwdrZmlopqqV3jAs93GISmJD7jKln+cR6yMep9ECxznh4MYvfo/BDGTB+fINPGpz1v2MwPh5S6UXYYPyPc320fv0biZuVp0ucMxUiScN9IrWNrkL+qZ3kwWoNoewAHhlnQCQvFy1DOOYL9DD6oEeF9P3qDI1W/qUs/qDYE+aKo7hribvl7K+LrpkV5NYwpfbFlY4hiI1yHC/E0gUxp31uCtTJXdVqPVbcUuckltKqM0sWT/WDCw2gNdkjWPl0V7fnCkIcEhojrVDkyyU5ps15OeD3COqAK/i9o/EFyFCxBJH9BE870yQsMiTaizCizq4NtPGVQzTg3AAXiUXutwH46IY3aIDuDa/J6c1dQaV9An/jMyqKQ17ZHMKxX0Tq50AUyPm1g3Q2O1N5OUdIF7lgqAvCZvFpOW59uvWvB0hiel9BhJU8a3qnUigNufloDKpQqilB03WCYGYyLySnltcMXxpafFyMRtFymWIbMM89ZrdMwtDMBcEMf2mLP0wFr5SfpC/rkz14p2udExv6PjAhpCNgngQK06c671ClyJlaafEPA2E6P58Tte0rt0/OgeeUX83sFmDiDHMWmgV+wcMGBIULk2+08enNhvOqEgIUTP9mic9YXTPVP2K9t2j1LrvdZmqu9sCdDQrI3DIxECft8QMAakc+x5HARo8biD4FBaT5MROy0hygeNiX1PHPiXfBxcyoaKq1b0/Bf6pwODgURfK9nzWQFv1m8NRKkF2qhOoxQ0yAi3cvYyc4+s1wggnyIX3z6laAbklBiPqde6l+3aSQTJxIO94N5nJmigbBiKRLhsQIsgWuXCWC3z2TDJ1mrYloJtsiWd6+pGk3HLM5GlZVaQcsrrSbLEalecs+J0heMuvjy99oHe7dEBiAqDOrL1qpOYqWVvtLYgmz8mM6iyB9ocM/4flirGmvJPdBsigg7GWj78yoAI1giILxFI8jyE2HoreYvYpW3iXHmc+iGIzlXggAtVP8JpJbfKbAuk9UsvxpHdQ6pKpzhUHd/FENbSHgqJjR6tdpPL0LdxVfGzRKnCR5x+qxb7+gj6/cUmPUEMybR85I6GmJxqXnAjN/U7NzLjThhCnkrL5oAFLylARdRQQOXiT/X7bGvQPWjsOVA/lBxfquEDhQgR2L1L2CY0S6lYPXsh8PRjeauy4lb9tonXbhZXOGEVdYMdpfSkX3g/EnXVnQTrxC83W+BFMisVMzNYO3UMZyWrMEFZx4nKN/1usa0rkdxIaaTeYHdyFnBzvX/Y0qLgQ0ecM4vKW5O3/93tYMAvJknyWExjW2aSII86HXpdc7BrRdBidpvi0GPh5slodM08Ur5RI98sATH/GgFWCKEnevAHBfvzqCEuET7MLwUp1rGHcd6dN+Xj/k0ZBBEWswCVobnD8XP8AJoZA9ZMK6V/k5KSSQwUse+VZjsg32+4p2RDsC+cvD1VL7ZxuVzuUqWgNVp6/uE/Xv6JyWwntGXX2oOtss/+kuzWWGI71HPvGbpG6ygvKlIopTBIHkLhOmBzo9BR2xgozYXDyrJC6ABKmSqQFi8dsA84xJjz98pfCywxfuqecz6P9ukAuD1jJA+YYE8IzRz7pFQ0sMxtym12BTDOn6Qm9DwXJVuAaFPZ2f5CB1gFDe/wi3tkUnzbh37yxjHZr2bRgw/MhFrN5u8j+MNleNoT42+1l2TlKLLUTvsM3L5kylaoRuD1B8478AJK1XTDDONl6NRIO9MTdWyw+DILs7BLXMKFVC09XCqtbeZPCdLGVhXNN3/vl77I4Nfu/hVKv/v4jsmoUEJJBgTa8o7ubtToIhkvTu8RgTJL8DDvMElYK+bXj80rbnUE418lFYP30Rqi32J4jAxRpzaMqraxUUj0lCGACT7AQA4UcWvhXaZYsYvWMxRQCvPUw7eAINPkYeqSerhLs5nJDhnE/p98+P3dkHp3OAkQec7xJVQIs6aUSgbZmmXRGtIvYgwZQS30V54Fw7HwRzSF9DL1j8VcYEbSuchVTsEh3hMmdg0ACnTOngk/zXLAa6sl9nwJdaDtcvjLwU4+Kltwf0dNATGL451hw7eBgQRFRjqfSeFiwj4qoOFRnNMJHXLOkIC+lJd2XGpHAxEtvtmGmZvwi3NmCvg3cEfnxc5zpQ/zfsX2hmeQa0cTR8Ot5A+nGoY/W9R5VS+LZyPEe0gLFtzvOWrezI5RFvO6lud5nd191U5Gp55WWSCqObwe443AXW4GwX1Xm6BQcsSCrpq8G5V64B5zL6WPViGL4TnSpWXfz4vBwvADNGunxj1FxMrcvgHtIL/q0NxqlYE9SURo7FE3pBi10oQvxxH1pemxeTQ2X9U1VHagIECQDsKGJZXggjAMozi0Ut+AhDx0bzndjRq26PO2CVmmxMBY6doCWLHQdrxz18SEULaikLDw5cbIM1abQvWHwzNGe8GCt1AgLWG/LAd5xyLU903fJZnlGtdkfVhkWhKmr79CTU1xoKfucvjFQETdqtkq0ZcqUvuKWPMZ7QEap8uNy8VeMBZgtOGqEpdUroBfhwzm1nAf2fx7wiEgpQykPPAWs5dwfetGapLSHp7jnxC1vl5hCR/StfepjJfhiyL5hcNgi5VpxTK0lmmrdr7jzMN7UCu3W/R5qaaKCjGmRsOgGNk0pwYog5GYFaps+MfA1yOrBX9DqOqQWmvWNfY78DTOU8gCXD9LeIc2X1FXXlDqIULsGzQTnhFpCmMrOdbRJ6ftVpcKhoV+tJR0ghohExEuKLyrmKpfPkOFGI+h2Hjs10YW9jM/nI0Z1bZV7PxP3ALS87UAhXpQh+i4iHT3bbPdpWEs2abebHo7Y18xOhjaG66g/cgOM90VztpKUMWr/RZ4QyyclM6+c+ic7bzp19fj33qYGaWVuo9wHk6rVqwzu0aU3k8NYR6H59pnBUVpCGvBBuQbf5FJTacKdbFOm6/OvrJcvrfCL5HZIcVJQB9B//icskg0CObDHnbZ58DHlioZ6hb6ergswy1+zY6kjoR5w7RYR5D5uLNAazgca+dWltlf/Cf8LSv8kY/+4vfUEr8qq64R3miKuaSaRgOG94NViZiY/v9YWuCFyrXbbI66pueEJg2nKEQZVDMTYjwlmsA9oUlj8GZOLes8LYQicopfQYM8eiQSc/iFOg7iGKWxDbkucdkrFxSX4jZwqBlaSh6/r9mWA28Ymcb9m3ploEpa8ueA5O3RQIdxeGUleiZxDu70FSQ+xyayFAo4mlRvpZY1jQNrQtTNdp4G3Rh0SkHmgsEc6qOqc2FZ2un85D8Vh0FRROTqYHgA9JoIiZKupKvRTS9/2JCFjJu+ZkQgZRTqUaTfep3mZ+Bp5lTsdRBGD1IRL6OgSPKHsnd7gsSMHaej0RH+iMxpFoIXO/gQr+I5nF066rAs/jelQtqqgtkFkkrN8MTUXCexo563kh9NhEUIIKYylxn6v1gcF+/Arb4449glQGxyP3B6+ayCNF6ltgyFGjuQtCsrAx5HpOqyK9kU9qRNp5aj1pX0rvM+1kg8myaRbrfO3ccNzGjdyrFhg3cYXJIETmvdpr9u54OiKFnslKSpduNCHAarLbm8EtiuFzdBunPV/oilDrn9wuuZIuT6NVM/XBTK7LKtO3NVs3c7I662h+F0TJa00T950Y+hI/qDRug692QlXAD3UfCNBIZhKx9JCYdjOpo6UlYVbS2UdUODoTPEnjom0PJ3MDifSrgiCvp+gYFxQ/wZ5jfgArIEhFKwCYm0vJLDRgYHwz3K+az2V5PsIccIN0Lh0w8MWrvwQbAejWD/kLVLHgH29/X6h2vVHo23l/HFN2Jurzdv5uP+bx9IobRU5B4zxJmKK9N+T01T602dVYAkrUoQD3ARu2lNiSk/EDKbM13tF3X7C6s1IbpPihdQSHptkoRXzhFmzwIhg6ea2fObiXZUmmV8L86BGjVUmn5gkxuJIi0RTBL8+Xt4Xmk3BQi2+zZ5iDBIlGydck3jzTvW3zB/90KgbkFa49jMw6F6Qt0UpourS4Tw4mdyk/EvcoHvpSN8tBrxNH4Bb9UuCNWTH19JdyOC2i1NI0Q8zljCaJszA53RDfSBuaS+QGrewcWOOlO6Toh76OGU9TrplvaeSHKL4LJSeMslA+zSsYaseOfFkL8pKae+OlQZwCrIZJTflhAOzJPxjsyJNSl09HV94PJXwu9jDBqGq3qcdV1GcVSXV36yRyRYWSeoNLC3JoYXjgvX2BQxs+ZFpGvcPxV4mP0MIpvNbSROdv0lXSuxvJ+33hQb04cWwr7tH6u9UHpVgq8RuMuJEK7VmVbb4bJNNUwiX74p2SbRRv+6q50CXxGGTr8PXITeg5Tw6VOreXeg/lPzYr5n9uKJJOUdbmTyap/Jlt1qPo+yG3aJaG/kVOH8UkUprHi9DBahRgGOXfntjisDQkJeF/pG8bMnDSYRxxdJYxMes+i/NVU5lymtAfLUF06vgzZLgwORoK7sbqTH6KRahY633/QtvQMcEtGNlVb4KleR5YPyWWpE/EMCSj4ObrqEFN6MakDDbHivdV6MwIR2tLtW2Ynksuz10HWHz/3uCh8evbTCMctc0Pzvh1N7azk3CBM8t+5LtvZscDf7twrY/5m+yeLZ22PiXjxBHLQkRaLdTXM9FGmWcuYPM+py60+HW84PQFA/I+NCGVHO0PCFo1cN/i4ZDROrTHcz1dAPODQy1uiX0aOHz48L3ypf3TkKms1w2RQdk6d2q/c2sPGcfDQCHWRHfpI13OLG5jBFdwuVsQNLBeFJMqGO6qTbZI7M9ggP0ghEAN/9AhZ51RHvsY4cCWHVBZaayqb6ZXt/+8J4moUEnxCE6FFmw0j6SIncXeTXmL89ugtd6dmpLvPeX708ZU0EKO8k80LeLA2CYAKnrxDW9Ztz1qzrUKNTX3wZVjTJyPIc71WXgh6F5zRiCIeJwwSTZkdSBSAZHi3WGKm3VXcgTawJLjkLPJhyE5Zpp9QK0Bd8LfGefQVWBlVBswg56PuxPyvdUXsHDKteU7T3r1jh1Q9moX2INdTwC4zqCVC/GhHPJd6ufBstiHD5HYz/+6czUVpgQao+tcwerE4C2n6S+b+hZ8R3+oicn/WaqiZ9WaJjJHZrTgXyjno6chXe7ETE9PEvm76ip63kAN7gfVH7WkEIh7gImFpPtZsDfHayyzPOOOtsgmkAuu8TC6Yr4tlPDpc04DO1l6gYsOfNNcpcjr2nS7MAlkjgnOy0Ldox/N6h6/MtDxGllmGL9IkCWbJKBjnq3SMINcZLZZFE3qFgk2c6N4Mv0mUiFK6zXpFgpQGIBOLCS40yP4PaQ4JLkjs3aG7LGzeFJ2r+a/h/nih4EJci6iVG7g1T/1U1j/BbGiADYH8gJt8lZIcytJLDkkbLUjzwh/5EVUKZKGEkzkOpW/0QbDWVEuCFZn4Nh1tDjGfUHw2TsHO5QeuyZ0njEduFCcbOyHL7DuZJaD0EdFxMZyhGPIwnDzMB6iRJuMOr+CHp0HHdayhHhxVZ2J/qiMddGeXS39jns7NmCHbko3lRCqrOXSLVP5vRe+qJNobjn0SsYfbLq6/SqetmunSGEGh6Nv1MVGsfj/k7CUEsUmzJULOkafO74/L8I8JkqYNoNnUcS3gZiltyvi8kwZ4UNX4ypmTAzxGQ3Ne6G7lTwr8kcg1vplhPVD6dSFj74YiYGVE10zA7TQY8gz50U2iXf+0AUwHbayuLjfdxm8b6qZkgrVcaw2ZsxOfhmYQwfxav1rEzlmDSFdzgQXNG1vl+Me+Nt46GN72AhpGmef0wmtuoc91Q6G9eOKb4wjL6t/Y7HlZxFMYbRyedezPQ+M3Mrwk4TzPfJq94UEvTtLwvyA/wuWRiToopiapTOdKVrdyAKDeuJ1sY2dYcDpHoGR7CcVS+LnwLwH8iEzpRfpCx3SvpqGcFjA4hhEcrH0sXElAao4gM9GJmM5AnVPiYbMFJoEzNjirMGxhSk9uHox16S7afMEHNqKRuaJjmjcg88isT926bArwhi/Sd1Gt4/a8tM1v8gJcdWNeLxrBTe4o1amaLYs7a+iWNUpZ5E6V3SInjeNkIYqn/J0Re42PPiyl+pU5K1A2zWieIXAnzY0LiH8fsygtpZRZ//AddThOQFlFHsGDycQ3wwfSIdlm8VS+z+uC8LJx/GxOXjrlPpYFf159BNSXifsej0ENgNSUjF98m6KJB115Qkx3eRv4gklBlK7E4rvjaeAK/I7X3cAOsEtFCkDlCQwGUUJ1b4mgrP2ZtYaw6cyF2Vlo4PkjfxJt2BaXB+V4LwCZBcYrobFqfRlPLYxpL7EanYWux/mkwujqEEfosH011VP6kvt9D8KuruA6aF2LtumocBETS5PPS15GRZZvghpOv5bl8nk0LDSFgwQqRo4lQEYxZVhMBIZyADWArDbhHusD2wvMxqa1ZWqWot8cP7/l0GRp6RuzMRnikLJocWQOR0Wx5qfczhHaqvV1sWmnlIJvLU6qIU7D3wPo7P9n9n4JxYc6ZZpqlHJy4QXNutxl4X4WFukhEe7Y3m2x3Vqycq/eTqwIuuB0tNpnKl5ksgQMGhjNPjwyvs54piNcFpFFo4nS6uYMhUogzhZHh11gricjSAluQlH22WxYZan7ntaUQoe8FwEPHEiAOUqY7wuER70FcBKQU0xOGD2Fp4GPJbzJd21Cri0LOIVrClExgT7UQHAi7cq2nMMulstP+F9pZzDU8xVc5HfHeGOpT+4IQRiYZPltcvYrKxQ/2SfNq/9F3aZnJAHn456bHQGgeydMrBxysCg0UQjcREIMQwrOl/Aut2sDnTylXk02KpcbuxnSBkcXaMLvI9CPCJvaBYu8mRZm3kUTskoOTn1R4SJtQG1+INAsK25A3iE3tTzG7KZr6KgWo+MPbAeHEiyMwgI5Gz+Uawc8n2JwjP9kKIiJ8YFag52gCCLgGIaEs3TINsmTGYVJWCfGucjQjGTD18cWyyGWJ3MGfW7oMbIE7SvCYxlrI0RT73qYHB702sT75ekYtd2n3ZuI+3BI4oMJDQFwB/4rii+0tincAILSVloQJKpCkvmBaA7CXA53vGB03Lk66f7JzGbx7wOGOejymBboP/jTcLC6WCSJttMJ/xqt/gRxURYNBt7QUonPbM/RmfPv9w30gF0Ec0npVAME4tE/S0UIZo5pdteNAtaVLUkAGmQofuS3443pXhhAzyuayRx66ILJcpnmzYWmJAQtO68moZjwL1QTLnd3l8gAygoCaVxZ+34mfa+/RD6LdyXK2T3iII968X9RH+CvAQWqBshEsnSf/A1RCJFo6gU+vAy2u0bUYUob+40J++ixS7FOptpRjZyJbQ/STinC1+gFrUYiV9Vkv8lwK8+Hbl3pNX0Hoj3b3OQ9AZcGt4gyqvOutGr3qDFaING4j71Lp07+DAa+EpPEfCJDRGSXlca3E07kBSx2hBT3nboBYkcb/RQkQzwjbFe5EeN1cfI0mnEi3GI/k2TJHbD6PO9f7kM0VMayEvkSv9hctMLWKIeS3LuBEXELvyavq3wwI22f7UfJVDBrERGv3v88CO9Kg5KEN1IR8vlii7SgG9r2HJ3mmwMFRsHeZopAoefe+v/orDmusCXLyG8fKw5rf5DsyS9kql5pWuoUTdAxI8mB1Cz12X6Fcr6z1UNXb4lzP8BpkLCL8CRF1U5Ug7yOWYjLWjYaZOUZ001qsvNGSa8s92Rp0Va7huITCByllblyoBEIukzkjXoOD56LzWvkQXNOKVkbPMM0UrPUUfRHh4cq0rVFMQOi3puoBdiXggTmXnO3Sv7YP/r3UjaF+uL0pMV0fp3SmAU1BQ01C8hj8vdJjbdVcrQUkZnxp+9gHqKWqpKDTtdcdBT8Wpf8aFiLtRu0MOR/XjcK69r/iyDc5OYgZw6hXZSUmHoL0gx91NH7p6Rz9tj5c2TnmUQCeQn5ugJK9OOCfmAtPYgLMgzy1VMGhoMm0ZxG+dJIFcWOnBYXxZ3DIggD33M1O+rFYYG3ozgMi2JVTR9KbSTj9meVW8K/yM5XdvpRkMia6ebmSR013WiIuUhtHHaFwQUsKXhxSfIOdE3FgY17XXNiLdP7R3usL1WkzmAXvH3wNOUPlm1JitSXGw5dTpG5XH1qOMf48mCm0qrZ2oGdD9PRPocMcHH8rH2gJbc5NnV0kOj6vUW9WM25K2Xl1P/GaCfqD3fSsqUz+IkfZfEWDBXn0EYaNUmhH9Twt2BNXz4b4a00kj5M40zpMyEd3dXL+xTVNL6dP2Geyox8Z3blSauIbYauRLkNyimJh65l5QlVKCoR+l1cCtNhT6qZZwYYXQ9o4AoHNlI0cxhaR6gr6iu71ISM/N8fACAjNzLkGFlB7oxYsuP+Vqc5XgMlzlg/esd0opU6oSd3dGBA6iFZiFjcMvl6yvN5B4NHWeG13IuHVr2AykzOjiq0wjBcXpElAdVg580RcQAxDxv9iDj68jLCw/J7VKPqJVDCWreXv7TWgI/zLSyRHmIVB8Ls2OZrEILPDo8fAxBDzEF9M6ojf6BY1WWBc5LtAPvSwyg4vsb2Xg0CIXcFgmURTh97uAEiz5gZp6LIA0N5ErSHDJ64J+3pXicwA3bHIMOWgaS9Af8B7bg/MKE29rrAP1SGMuW22lY7gVy+VdDrje02xBWEJjUAEPZO0Ih8ki76jLaOaOCY4S0o4T1c8CPL9m+0SSXpCtORtYUZpi/riasOc40LHHVRBCFDw59KyTrTiD+NYwo9Van94p/4Ngppezd+MW+gCapC9s8/k2YR4/7pqtRb2aetGP9AInvY/c88Ji9Ekl5/+NrGJe65oqXT9Gn0P79YZqtj/4go1jpi/HFh9EWXVgSMfcDDURmxdphqRBxSk+dFOCcN+pnCZwK0qzDg1O5107q/12XGCh8rMKqxo8QAzIBpMAwEbA3JkPGx+G6pb+h56xsrtl/pKd0p2PJDHjAt6Z+L65/Y3+e/QddVSs4zNDY2aqIbSDdmEGiHHUpOteYDzouf0GdTEB6GWgsuMKWomQomVyOQYaGZvLSWnlPYt+GbrW8M9HLv8fiYDutW+jRNVi+1FLYSsHT0APL5VOhbGBSyLU9CziwGijR+cpsMe1fqiHv8UTpZE7/2dyVctM1SmMTQsW/88LgWHVIrHUQ33l6V7tY3JZ2x008UQsBHbDeNvZIUvrnhytF60kpYGI2TKLZKAuEn/Pv9XNNtG0GqTXu16cn0B0zaFaMXBcgx3piuxiFDnTtDV20h7BCwtxJBFfb5uSE99YxefU65whXLc6EZinrzKCXX3zEaQYCQf8sfn4jkVFYe7juReTBUMWwj5k+owcdH0XJTCAFWIFmKzs1rs4suw5hJuKMuo5FF98I7YUSimLXrk+E6N1YT0k1qkFoaI5hXzvHH6QmAIuSDp2jbURnMxrzMrq1Jlg+TdMItEbtU9KYl2fFkwyoumWk0E9qNZ6dNtQkUkRC2g/F/vok9bgDAdUPWNZB2p4Wq1oKP5n25Vw+JPG+QPjAEYeVzODjl4XPpTd4VtWW05nyIr52zJL/hapXt2TV1+dZdVeLlcjIW8WD6UiQoaKcE33bBjMiDEGVhX+uTaQcmSf347aO2ipkg9MHLpCs1LCaSemF82hyJWEj8ZHfgvzEo+7XtxPT1OwziB3zJwfAA30ZuTVZw6/9jHMFp44tRVgnmYpSk1+aEZUFg3JY+fr+HgQpjxXyGjOfOiB6kVCwmfh69EjV9cfhWzMYA5feVN+BhD6DhS+04kT6tqZMPeguHDGDjUC0hYm669t+zb9XnPivi9EUT0t2Ze6VW7TM1GYisjM+Y/wQ0L5VZnJodNRanutdwDiThOtcgcgDP23Y6itqCXHx5m/JMxkDWZJNLDf0LMJmg4OFgP4QuCu9z/Jvq6YcYMt66v4AF2EC1iR1JgZ/5DLaUkZ2SbC4zNVDmxz8xSTaUDxV1McudRK6QUflaxXbP7mvrMwjwgjqTiDX/0iixgHQdo1V1VNYPfstam3Z0j3qBEsaaxHDahiYzVVCPaBkPoAVHfqOvTrY2IgMls4HE36UusxlnZgmTvfd7xy3AGrArdXsTck/fDWzVgSm4XaCnl2igLRgR19meLx+2p5Vx2RTu2DTjT1Cuud31nQCwj0JjfZauNaoPCVVeEArGCRKDJKSGEVuc2yZWdp71U9vmsYePnBl/9oMtrmVBNBQZinFTyLpNUhM4L6kvArUj2QyjyuOQ1cUtxaF/kfNY+bPQUok355oyzzWHmVQktxkqE3eH6rX1w3WerKu0C5WJNXwoUgjfEJOzpedXVnEdan855W9kHgL1PmEBk64GtMOikxaTl+tZtxqyqkXPUsqRQZJfoImJK4J7ccgUhytvEATaNHtwiMBiZ7VFB5pXFGKA7xbCgEi7i6c9yAqPenSJd7DSM/IzjgtlSBe6MhSrF/y1hHzG4UjQQYUW4ql1E7W4c65mikwZv4CYnbBOPSe/WleiLckQlDAcBQzx58pTa8GSX7rBlcRsvcawz7vZpAdGsRkG8XG9WPNySw3tgE8Lwxb2uDUvZEnbEnb9msJ86wfn146xNfF+BsQ3xuujDdx413zJnD8lHTfHj8fGhFnox0w/syP7NCMAuNcyYBwoz2OoOZ6KL18niy++lpxIhWga/OF5KNuxyWlC9G1X9E8VKYIrUVeTSIDRtZQN5+xNAJFaQvxaeMY93YeSqbQrjkov/QbCVw9BkbngmSwCmvp/d2INSqaeOKirEM8Gnkx/ti7+IatmBdB1qR68N6oFBjibRzKoaLtqNzW9zzahecQQKsFmNl0ioPLhjeODnU99Kr5ZxD8+YAvSbb9gyS4eetQa0FwSy2umjcTfia7afsjIHQ6XJceKYq4tbObiCMkbXPhm0WxjBYd+seLRWuPSLHKpjDz+mptt+IcuGefVj406jY5INkt5Mkn16kPL7gtCNtEj+ofGxozmEB22SEi7ZJ++5NjRLtMd8vTnjG26OKANAXl0BXfR4XSpv8AafOuMycuMzUfjfOcRFQ4ENOZya11nD2nzcFwvVtyi1Yyep7YhWQEQKpCv9wtacqZgqQEMzPw38A01rQjLgPwnjQHJ5J2B739mIRORHMCpIvNo6bo52OH0CQ+hrlEZsOqz/vRdGREt7qkkUUz1v+4ap1PERTq7NBPewE9ebcyg/AlUsY9wJvc6K/ysiHSOOXCfnmuUnV7OlVyFLzpZGacRMNiKDedz2c41LeElP4oaHrXwPVOyObg+k7nP2F//AzZkZY/cZNXr99UzrwkEPEmgtmSj1D3mcyYEpp/hmX5O74d3177SpLnRo9sXOHVe45/qwohZxUVANhV9T0atKlZkRt1XGELLWq/wqRDdE234mXfoeRVjSdMZdIA5a+ztMAOmoEE67hcpteRwnRg2by36uIdz5dOJOEOt7giRFPBRIvf24jrkBopqtxVMnVV14RFHzNBbq4DMaJ5DJXWlwX7JaDGvHUAbDLVGfA487vaSNCBCHYuCy+JHOQ0NxhEy8x9MTS7UPNeSQGydx3kBNWQesBusAk35dP3/TyHZx34YOI3emYh57rQcXetVrkMZUAAdmnzEk6wEEoG7C6410dcZs0qeXhTeVrL/+HAfPgAaX4k42VDNYmMxMCvV1aQSiKNcPinrl6CA/tvul6GMVa912fD2vewvDHOQ+7cq7MT2XXdWlRh3PAU0+7qtsyR9qeV6WwNowPMYvodcUxQQzQBDnQOz0WWBQYbz3JacWa++RXVi79cY5VTF5JEc9xy8R7WSJf3DuDTu3O9+WO/1/rFQYecXoYpOT+bpd3N/jBE8FbGakp4CvRKTC4y92Gi8lKEyzvqtE8b4DM53ou0n5VG1Gp5BbmD2xPzfviFL9j5ZM/PTqNVfBKfHLvbFwBpC5iaOVe4i0GXZbx0bN5s+2YMO4nXZKgjIFZQ9mmQ1Bwtoq8YnH7WEdZEUU8ZYACrC1k5Kn4bC0yUJvW05/yB/VPLoD1TgvCWsfZ9leSEit3fZXlL9EUZNquqcVhWQd8cZaopfOMug13v+SzRjr4zqDtQM/6AVex+Kl3l1SaiaB8ejOQYXvI/JVZckezdMwzk5L0H0XfSP2aty70+kdLHsVpvhGcigr/+H3iunurNeOKioxoISgZswTXmQ1C7Q1WsypPsLdvLuSQ30b+gpBF1UXbj4bCLrNT6j407ZSLdATZvyJTSuzlvZkEARJTc9MHwA92NNM6q86xB8qBJ9x9Zk8MWs1ch2sTlyKItVuzM1u84nrdhLbzD85rTgXW4gyDcEoQ0C8Yx2PeKgcyI0pgqxTpxPS/w9xtaMWtmsrbGOT9PThcc/j5fLmBWvFED6AEsHu2+cpbxnZSwi6WwqJoufSi+ppX9MNFGa33i8rIe62Jl6yx903oibD6PNKPRLdhtfGbLweRqrm+Z9pyxh5EFsZxSF5gFpdrjP5QGYhu4U90PT+5zcxbwEWX64tRv677vQPhUwI5fP0W+MiUAY2AhWK+rUlkuFGw8KQQDnA30ADmN8IAw4L+y8qBSkoQMjzRZULPjFhzdnh7Wv1/usgbF3ILhQLfs023zJFPD0wUi8RB4UOdCoes14nkyZZHcmaHGG5FdiBdJOrHfe2LTciPMxi1lfthvwPli0eSxFHo7UlrFmK+lEQC4pvtQeDKk1dbxNsLYtQWo/0rZ9ZGZsbZ8ZKS4xV78Jw31f3tznvs5bg1LXxw+cixCQqRy+JCQX1s3+lR5o9sGIHW/Ou3Zq13qBisJG8C0QnVfPtU2aD4OO5Gn55OQo8de+SX4fAbYsa2RJW06TPp4k08vE/EaAQ9q5X1nMnj4a7hSyjkUplORQk8+C1pQRmULgDtKhH65SvLYBlZRmvpYwXyBq6ZRPjLZJRjBz9n9sPpGaD5gB+7NdHBQWHr3IsLLX/KKzWh9NxUjTthLjrNgRDYlzV+gOekgOhtrgVaCgfwRcSep+JA/6nSfOSKSvq3g1AI4DYvdgcuySI8B0M/QduTGfFnAex3Ir0l3naJg4iowFh25O67artInQMV9T9+CMJSpYrKYmZzJPVFOB6tqSqvzaKGiTuqqSVWpltQKaBCDkz8yGiMV+wDKVe3I8wY7+KQ+0VpS6k3Yloxm612tZWnXn6853xEKoxcVHveoh6lXEFPJXq5D1P1NyewxhjeV/9PJrLqK/sknqT+EHvdy2yWnpUiC77tm9nJvlbwlMEIzJirO9sS7QbFSzNQzFdgpmaRQ3T0Qfd4xmMLkoGcUZCnvx49vFju/Mrw5n1pdAHbRy3fbd8WBwqnpTWNVznbsTEaFFKemLEvoLML4ZdkElkbmWWCgGcaGD2vl65Be21/X8Rn2FcZDGizWd0It8XQ4YqzrCzQ5u7oSnSfMu61/6DC/mRL3uY87v9uvGergrUyQGGPu0YG2aJUU/RG7txYD18oqXQHYsdqnZMoAUHXTKuzaJNKRfQqR08tPcLoBA4UtbCbvi1D0n1lv4gYktTPT011Xhb/myFLtfC4/22IVCIiFk7ns7E9YG2nJ6gMz49u++nxvkLINBFbon0D9nCl0jli7tgKF2FeV0tYBQwFyr+ZcaD96aoLZVc1syGoj6me/t8Q7XoUPH6qKavGMZdHvJMnaop1IC1HxjwaYjHdBZJUxK+9L8Y03o1XJEeod7XyBg/gY2i/LEA7uXaZLEaVHBfc3uhtF8Y6yDrPxsMkh5AV2iHz/F1a4n6u3/EMgn9xiNLIeZHbEPAlCfktnN5PSVOsdDiRy8+NGaocI0eQ2PuuL6E33Fn7mzFZUaHJPB7t/GplHI+LIkYlGS+dUhXQeoZNxCAkmNKsj6rMSXkjZL5o2jGqOJrqebAaWwI/PZ7rphKDJJTz4P6PzFKcdjOYapdYqWy4fc7gb5AsFsxQQu1bbqlv21c9b2aS4JP/vjijzOrprdpmvxYErZ/iNEEteFolALENzqFwjJ+cXs+mtcISKFWZKCs0CohHM/NEHPsjKSkRHZX75VzGT99LhjqTrwg/JcczBZILI6CANnBdjkEWg2R2fQL/uyi5WxpOOC5/wG/ApSWjhueLbG9cmsdtx3freBmQd5naQRQcIK+0roZfGHUEqehwrEv84B+gfFbkblMrHpfrYuIJ0uId57Sw6dI0fp6opfbyNYQQCbdhzDk0d3f+4zqtIIRscZk6gL5Iw60TZuvn7/WFBxcknuT328eo8zspGx4oKyLHpLZlagnEyJFmK29oDGe7B78YbBD8nrB6m8TrnZXdMRJNRjGIU/5fgT33sYfZ+HZ3KBqTRcObHiwH6zO8KxCCVzh7iFiThGGWwtz0zKj5wWmxVkc+NF8xwKoX3Rr7p1RdwaREfEYv0XnteGd76LxGYAYgcIjs0Uel+Jud4X4hyy0qbTnfccMsgLJbNBM8dscd/kTCkmTIpwocP1BIIA0HWO0OEu6r3hr1ThAQB1oDGqL7pp7vzhU2bsk1Gx4Mqnmu2/tqfcug/PgipY95+SH1PZwgb0XyEtlAFc82xSrs6df+fvV3RNhSs9kO4sOV/YbxJBBVsB2SDKHCamhaV3z0+uGySsYtKkzslkTbFRD9QgDa/mOIwgXrxSkp6P0hyqPa4kcRoSKxruS65T4Pi7eALNcpO4hT3rg6FVYCzrfDRRJGMn0PmNtoMbmCC/ogqL5GcJhsiRLFGn6wlNFG1ouVh8GNtdTqeTTGH12B6O8mIrQojyEUHEZnkWRNcjRL4egYji/VpocBxiVQYo+it7bfIsBXZc3Ye1+FOumIkqJADnBDPjvdtBLZ/KqvTY+f4PaNSuRmODqNsaGd1xo3xUDhAMzaXExzs+nDxSuK+8wkt2Z9Q4/SklyRLXPt+MHUpBMBYa6jZwVSKlzrEtGGwfhEWvDddFpEBbn206Ym7QL/oUyjdZu/v/idSknn8eAWtA/0U4leTdA6cICkpZ5AHbA+KS7K4IuzjywK05PiOFUIb9gceINaHySnvMZhv1gihZCQZtLrLe/RQRa/hMncegYGCsfTJGXnTey91fqooVGkcTnXpDRVFJGQ375S1OcGX0S0gz5fTTsOXUHK2X6lIJTdnuXAlGOnu1sdNpyaBSXiGkQTKdRsfMc+vszrL5R4FRluTDqg+82LT3ardUPLyNWme7iO+krX3uHQ0SeGu+tPsB41NZo3DBoWmdxa4sHYv4ok0WjHdPtI1Ji1fm75jUwsJ1GEdcqzATnFfsKdkp1Ki8yJQSqlPggrQU6tQZb44Pe4uAe2FVsf6YM7LGucqFPANvLjqc7BxKbjZhkdVtQx1uJzV0ZWURngRatucY0WAGuRcyeJ/Saw28lIICG0N1QHsbaEA0/ZYA6TcxLpgh+i9hLiqmQLCGglnNbk3qzSwg6PeuHlXOm1TZlHLgz7iVhKsSFilOFntwFcrKI7XD3cvO6XafwzKCZde4QdkeUTnql6LmzS1C2bvt8agpAzltyC0v+GpNKQ7esuoEQIf4ybDTov/Kkvordg+Wlu6Jkn6B9WWL17MELjeJ/EXRXSG4uz4bJTTB80Lq29OzL4c8AKKDjsvcvoTjYgS7orxR3oOEL/E7LB0cwsaEI6aIED9DZTwMpzOJEgZzetxZr18zxMMq0XOWINDv4HoO+k/tk+1W6AyyaaFJuspdNpdxHspuI4j4K5y7Fv6CsGPmO5TdWbLxE294gnJ+6HDoCIl8SWkRBpl0j6l88c3yLYztgOdgGqpvtdHVP0Wm3KoFfK/3Ln9lOVXKpm2Cm+6tla1RXviwMtB0wMWTcPhL1lfmrHyDjFl6EGGAglurDW8JKeT5SMB8Jt3v+P1KX2LzeB1+8LU9g5RDM7+qfjHsqO40HOvqSfcwmMKx8+yAL8e4AkWPwRtSWmFqNvtTdm4bfrSO5d3uJaWA241kzCj0XdD0cUS29kGFSNaXMAPc8txvt+3r7sKyO8Fnup6WAFGJ+SgfDUPkC3YZmMbrOOtRobpqElqHHfPdzIBUPrvXlmD8S9FYNKqizBJ4H1kATnX98D7v8yIGQ9gYSnt315tXRlO4Yf+lEKpoI9rKH3jUE8NRqzHijFCbLV5bsTSK6qagzjh2bgT5Uv58AiFU8QfrpFHS1Gf+amJW2CfArRA5MNf8ks2NvEGtQw01CpaM6LcuoSlEVnysNEbAYffLHkxsKcZk9bM5he1rFzR77orXxtLZ6B0EIicFUssHX+CoYfiUsa40bFljxv4IBGBbujIY7cPL5aweBTZcMd+QTPaXdS50c/UgHtOVuONhsZCWO/52XuOQXDW+50ODiLr/rQzmXEqWMI9+HkghynfRWSeA09NFOdGr4y1BkOe6vmSYcE5z8O4sQMrj5esbmx8UyPkXeP7S0zJkkRhCFYimwvooDGWomp6iBAc9RShIRV7vAUbbfb2uB9osZC1jcyEi9dMlwB9DceMlQ0xpdI2QCxM1VkPIufmt1c1CqaOhAou+es4Q5gt1fkI+OqfnrS6TW7wEM/arCPyBYA6n7C148ssDzjadzjABxBN7iWn8GtiWZUOmXt9ZiHCiqNOBHk6ctqUD7LMjdV0vqpKyGWu5hlJaB64HPPVoY5OGXzg54elNb6It9kF0MRzcW5/jnJHCAwgkxPoZZhb1NUdvSGX9IsyyN9/o3GTWIHnRjzG+GGYLaU9gEr71uVCCc304kbLgTgQQ5WUfLuVp5KdfLbmpxrSPAp2/0OE2TCKDgYLRZKO6sBcg0Gd0e0diIcy2j9bAMGj36hCIgJxhvFXzqciaZEOdEhqoVqOiuYZDNtF4KDAGcQXVvBOR+J1A4L5v5n5UTLcU9+Ff46rrJtbX+3ZiMsqY0Fxktdsiku1v05OJQXyGc4MyZjXTc6iT1KYfZwMRySJm0xDzSqPNOZRFeHWGcV6tbzCDbwymtyFY1qDeJd3CEH+PUUErSaborkKXJ0nCoTov6DW0+KubG/6d2YZyyKO6WCmlaE5h6ys5AVMd+hdjL6Fhbiudib17z3husN8rY52IgjRnXtSY+MXuNTM+eLhc+h2mCPvO9IC50ab1Yx2coaENyt+mqAiYKN3ljjKLj8JEPWNFAvVoqc0hsXuV5LakDX1iHGKJhNvs+bxDbxfMGyWIxss93LRxCO5Mw8rU89KsXkYaX6vwGkWtXw2ybKScfILm3T1lWS6Kmj8hsO7ZenkAmL0lD2QAyBmDtABPPDmglSSIZoKFwkZWWJl0vZnfcRZ5zStpb2EgI7DMZK3+o1Oana8Z4c9FZ9MA/KeJQ7LdYiPm+w7eLTJTXDmltHp46eki58w4BoKPkRCB+p9HlS8XEChPtiu9vAg3dl0wfh5lA3WwJfyWP3sRLIE1BzCqN78RXwss46z3klKjnMTSgBEnkMfjNlsWO6hpkf8upL7grYGFSNU+koiBD1hhgqVqBt88FbjaK3YvRSW5sb2mmAWFIHAlXgEjhmNqCE2GA8ykUfBFboL+BGpRnmgBjMejmADn73CzoCza8yZewaDELzfEuxvRYORTaO0k6vYGQf06WQypEG+2Edo+B5FVblbyF6dWd9x7gHRYG4GDTNnWUZlbvF5/iB4RvOOOWHFmMO38izC1mu7WR87MTDSQ3SzWRcM/tbl9ZQTIoAFNETGXD9tGBnicMvnve71RMj1KM4Mqyaa8mUlU48IJLr0o/l0H5E1+x0xSETPCVtyFXFBDOT9/DuUXHRL4IOsEryAyOi/7ng+sm1lDrvYiYAUA9E3JwilEJyqZYgyxTIjcnwiaOQXw/KU+zxuZWLkTCrE6AK71bHYx59bXkkUrHaM9xiwA6qqIhjzm2qXSHmYhvjL+PDOjgc4NmrlD79MCijnHSddDuj0+C4wzSO9uLV/cgcx0VgVzIj7S3PyG6YCUuoHp7zfavwFNwl70lJbgSmbwubvHc88UhACojKao+TQxpYhKqo/S0sv141VxL4pz0jzpMwflyndKU3XVamIxof3K4Sr6BBzdd2GilkJjFMRAXoqFJddtNjmGwrRYgFY5YabmE42dMsoqBWCHWW6oc1g5DQG/kRipm3PZKbCN3PupIqY6A7+J0rkze4v4RhSHGu+2SyXvf8ObRnJRzjrU641Oxl0CJ+dc5ToDEOBJKah7HYy3Ci/RvqhRY5z1z5MXNFPqvn5MOiYEQU16A49L6/KD3ka/lIkpFC6PrFYRUpnWX0KF5+T3K2RzqGdAIco0eclf7Q8hzU0jxx+Q6XGMN7ehNsG0srv/R42zbr9WLvNEenOg53DJdTAwgwKHuxWLl+8+KA/7r+a/G71auAHnMoB2EogNf4ouzrvX3n55httGeshbhWFktRqjnhYeloA0FJQCRrS14mJvDletgg3geQPoUDMss8Q92vc25g97+NhqJ6vFm/TRYu3UIIyJUc9W50gzjoxI/gm0DZirbA+aE8PXCb1D2tQHPhchI9jJ20pPGClqjMJHVVWhJjjv86x4gHwOWGDC66k/kJ24GLOhUvWTsNT/CA1/+XYG5D409B78PmjaF/k1gAmTFozUXduA0jgd+CMco4iqRoNXFZ5Gk5vczb9DXuAQFvgH96/ori/GLBFIBY9Lr0i5cfBa3G0Ym5kc8qg3ckholzt35emHD5DDLpaMAH3JxTf93u40IC69eSU3uzOnJwQ95N3OFgRW1kfdQsrb7gYB/SVZw5Qvi/7g2FcQ48J7nj6GcRJosOh864LvuvDDt8rXGHdEQbg9OBiTEwBsXJt8Tt4UnpPuvJ4mVC0cghSAu8JF9c9Yt+7iIFeYBXPqFR6f9p/Fo/s5a9e9eymrITSHygmN1/BE2NnkiG9imsBLs4kOi1ZRdLdhuFgc8Ox4xoUmGs8N5ozIR/ja9PQGI9YtxIRgqVEr+FZ8JvFcaWCuMe5rgiWs5fiDo8MlYioQgFf/1U64UUcp3ElB4WjsXZYhxcKjoehjbyik+/f9e/dQ6+rlBpTXknt4hlHNta8xPbJy/xco1ofWbFNd7wUtV2i8srSWNxQsFKivNqPOfK8IVNz16fFBsNBDdl8mKylzpAxRQxf+jEalbruAuOhknGUsppB1wdrrfdoif/MuZTNCcnL7iVJc7/uuRIMEQaX92HoG3Bq/qV2gYcUYocWAHXTwejJ1yRLNU0yyWcRnEnoPTWZxjTHNTaUHmi7eyob2RPQ3RPmphI5hVp1B8zirGZ2KMbh8WsKS5foOURvElIX8OA0eQ6PTXW0uQ3xj+aN2w3j9gQEfYNVVg/cBbZQTB8mJfK2aSATiZBG4JAvpB4hL98zdaeDH6wHpVDYrOwQvMmdF0enCcAW7oBbxXBJIAfjbgvQS1jMIEhqeu2qIa1vMOfG+qhfm3xSBLuMwu3/fZy//BGjGhbKdANgk/pDY4MBwrjZT5gq+QQrRUWB8WMcnhfQ5fmoOSCykChlfF04Cuji2yPUBfYVUBfx4aMTxUHyk8ADPiy650/3xx9XG7RSFwozfpY03wWvL0Pej/iop9TPjhIfy3DPzdTEOMSe92tgDp9AQSHv0L1RDKMxibu/ennVvi9c4j5T+hiUXOKrPKHpzlT+x8Mk+xYt2TQLhIaFvjo+lhYhMT/i2C7Zy+kMqTFWArsVHK15OGMbZES3mdBjLp99LXZAs4R+eaaHQUb8KhuBg340L9oqdo3CuAHdVHAgs44pNpl8RK0hh+ZvtTcHd9M1o5oB4zuhFYZXeH85X2THf8kNN6bhCEJtQaF391WV4Fy9G7uOl8pLdTrwL6X0xBh9PcGH0qg72WKpRR42HGLlDJKhxXVoaAAh85HuQ5t8iegKv4QPoN03HJuh4dZHbONYsuGiwaMyvNw6oVbY3dtb9VF0wBS1BGnB2xj+sGDH9bKiaVzFg25sycIZH57WwfXyQ7IYR8B3zUGsLHF08cCPsXE7BzuaNxrR3kcMPl2MnfS2x2HHCb6qVg8n+mUmnhr/BVrwqYEhaoLs6nn9myyebCF98wcw4o84E8ReFIQp+y2h54+E8nftR8uidNA3qphqxCGtWEnY7UGKZduupaPhqR5XNR1HkaQ9f0iqrCOmVDfAe/enO7rKo0N+MgoWecBJooLzBqQlcjwvCWEkts60MwcjeomEswzULs1i/i82WpNyHBCucDTmTRxvmbsrPoBz3SpyCczLx7rQuiddbCrx4ERJKlcHJEXrPAVZh7AuHnrl5Y+cWypAQqMa4K3ZMHsF9cwk3kahPgiaCsH3Hdg+EQpmmlVnpPRY4R45dVWcLaRfinCPfmogL5mvFXjiqYEPIRyRayWOnIQXnH5ow7GY+ipL8MuhDTWn9xMVlAcAd5mMvVsBsnjGcRTtdlVro1bJ8PKS2hvcI10e/7xhrHHfXnSdt9Zo1tBby4mbjgh/PwSMZRMwSVd+x4IV0MXukhlDKn0Yfdpu/bI+xlD2fouGMjP52y7SlLZiCe96vQs4FT5/0x9YktDAg9IxPtlf7VORcqeUo09O0wGThOm43g92S/KCQ8GlrXdorvVUyegnR9uQp8GYPU1Xs/k32XDxL0Oqu5qFPUGhhJY6gS62VK6qQGKtM1Lhs91D5ycgUICzoLeYUfjHrIt1Ik/9yv6xbt9kU8nB6dV7sE2m+QvxYFl/kgL6Njn/RpxDiFKHDGWmpZlrp/0l3jxInS0XSRHcyTjJMD3m2qUaOUAMrulYOTv3x7SoSEXADshV8f1ZKRIFvvv2uP49vDqHyfwZMdZ+TTUS/BSom+SxG4Ubtae1AT/7fR0Atci0vm+lHfUQ2sqgcotZLY7gtVrTxjxZ6EnDr5+xRHx1Z+xLp2oOen/USmaGQzqn4+/iywRRsLVBFWURB01fN+skyAKa0LwccurE14OKLLcKnnJ3FujichCDYQVVoibImD+/oarhYqFYhlFDYNCyGLWThcZNomvxC4PT4kQBEBKuoBnHdu7QkP1s8dEHI38Xv+ZWAzu1iCyjAov83S8YmDlDPuYQPHv7xPDeSgEGLYuJvx5TREi8C0TuGJWI9gCcR3piP0zI4pW5G6i4GSr/9L49aQfAcmsoolvwDsJ2V09iSdcVGyUt51auKjWXFCbOw+olQOpNpTAShxXo97VeS9xmMM0l27jEwYtdkQaJCsHtk86UsL6V0uRvzodyI4j2q6YugKbDJEU8M2TcRETWmAagJ2k+pY7w21TF8K2BufpPmj7PdXot2Ika4UuZNb/zuPsegJIxFwaV3O3ugMe8C+0EQfAQjcMteMvHV6a+sHx2wjeWME3IXFqsjqKFu/t4HjxO/vyywmXgN2sh1FNU900D0twzNLkbszX6o602+YjdQWVYglkGQDmkbvGnqqqqwHdLJTOn6jg2eFlYmGeEf0UpC+CmUZYpFX5S5WQ2ul3p/om2tsFnQwUqJ8ZxRB/ZOl8iwn66I/6A0pG0Etn3gNBABMtN2RsrffjTfsvklthDo2eYBMvxzZbWNSRT261hYcPNgIOU/lkuDNynrjV+KEDAqjfabQAdC2h+Cz9GZfJT5G//YNDO8YW30APbegyM+dIC8s7874vjGT9BPu7WBLaP7l+sRYkCSoFz6bRT4CDxbPTYhGqFj9oZqvlrLMur+2gzw8b+OXAc6/0hFiRkeDnw+dG+KLN99fsZb3kpDBvwM83Sp3Km/hWsoPi9dMg9PDfwk4zTcy0oNWBfRhLV/3ZGDClt1Ipv8wa578IrZ/EzTjiG/88hyYVy49OvKxdJX5IDrvpjWDZAmwzL6dl4HIT2noD35zC+AO6NCSs1aeeMofMLjCxbNuLQAardPA7LMu+zIL279ZFd3L57V2ENO1lSpEFqL+jgzpWEHoIFVRjOw4H38guvl5igeng91EoOWHi3s2rZ33B4tGPG2F/7Mzpq2dGr/0JYNrWkhSo8gyYvJrFkpUbWMMRR6sawFAZXpDIP6oQcCeh0yBj+uxgZl3gX1kqOfeP95lQ08g9IjCtHhWBLikXYoAGtZrDAFYecgDHgyB39dDwobs1FnI3dZcxaAouoSxv7q24MA+syOe2QV3Iazfj1zHbSfdad+jUmCKeCz6zd5M3M4rWOdbIKp7zncmIIeUFmh/7pLc/gQJrXBxMvcn1aJegtbwwgVFA+QR5OPuS+RPNn8qagCGx8tlJJnzgRMt3ZfmKiqCbJMkD9vq/tSHxmIf3lijAH1mJLGgDqd74dWSeoq6m8BV+J1o2hqUNFK9EnykLvLkos/QB64zalEX8HGfTYZvzO+ErESatBHUi9jC6IwFE6h/QjijMHXBwXSSiF1LYxZwXefrbcSrQbBdiYDzjkdFgywMVDeKEvXxhj+RvOTa/tOjB1b1bpYOAboV3xlcFIlVaOWVrDUGhfMbpkx6/7hp3oqa+FXYObCMs9C+yOIuemBR4EvG8XQuLIZ0+X3H7K1eUP+IJTBd1o9HqQtBJKYE75+HkKju9ZSo9i9xM0siZUNVt3iqcpnbarivQJQaik557GDe4zWs/yPGg2kPQVHECVupqYdfk7AXxCB1cuF4I4sJ0yGexB+abWEZP35C6cEeKyGjzr8KvaS9A80e50UZepSdWez10ZJjcb0qmqF7pz4mgZ76+WixUF0rcMj/KO0SOir+Wtqai9KQTyynEcDUdT42d4R8T1ojD+ZBkj9bGV0+P2ZLvNNK+KvUz/nm6Qv17MgXgI9T498c/r+CJlbEJxaiuTRcxKgT5oKYaV+oeZ3llWZQE0RyJCKWiSNlZJR7ERRsew+X0+LfXTBVU+2gnC2S9dQFT4yxE4IL9QsD/p8CaJ1D2yT4APLFU5gjJHwNxwVjFVIaOgmLuyghzOh9PK5iUa5+AH1byZKZWdZBnGWNlsmK/k4sFDrwu3tgTHWHaDrme2yEnvlohgMfXmtiXnwrk9SlmzC4w4w+U0hQ+fEkgmU1FwZR+BlZy41bUL9A5fwLN49Bta/NasWt1ZMHhm2pU+r688cB455uzh6o5pq2mx7SujYAmfX78HNICmtJ2ePJEt5mThlofIj/00joNXRpZKBuWGLTaRctA/3mfDV01ACBZwoIV1FNw3hDkLJ4SfWZ5xyHIdYx7mfYMC2fYiba43tSsLdqx7WsVMFP/FNItHv/qy+USoyuwkpz2tdD5WVZKts/qy2tC8uMjfnz9zGkWNQF/cpSftsvbydCLGwgRwXs2ITW7LpjL+JMpz2XvvSdB8hecrFNbgaqOXsKnf8wO9sHKuGijMF+Af1YPhJs0DjMQgdfKf60gs/qWqTaKuNwSHwRaYGf8jX3362zhmOpgFEc7Pprq+Tsx2OohFpUaaXZJg+xvD/0aVWmDfKI+0nRP9J+T5JPDj5JtnWWaxlaRhywJp63tA+9lAoUAFuOosxW3xQ1j8zHif6gBqwpO54zMWfB+Q/inYAbnRkVWq8BtWnUS3NbOZDEb/gnm0DR4cf8aC3iYr35X4U5ahiQax1XDaR0FJwjBcOnHIcLH4FaWuenn1f0yXheAk0VRi8Q1uhsdEptnyvFjRA8+Nqkc2JByLNfNEfNS9Atp4FU4KayHTYPMZSCQhMuYXyYNo8MA49UPZd5XszoYs4mIqNDGuQOn7g46mNwg9hpRi1BLNO3L5otmJaVU43TwXayxo1JsZ5SID0bXc4FOQDilm5ohiKDjvgG7tqODtqa3NFR6mQ9Q+7NO+YAVxjua+w6w9Pbe7ViBx0kdPDCb0K7OMfE9ohreMnnFK1M+z6+yDryduzRNy1yX4Vu3t257jvyq8LiN9dzHWc+s58n/QyyRppwHq1rhU/2VcWJfaGDL/sou2vkor2W/gWE8krRClhc4iJvPygvm3MeOryTp9rfHoHXu6ZDVs6damH+fTLb1NHZLu2aAJ4bIwdJxLbdPA6RgZgYG6r1oTlPkJn4Ca9H2Tppc/+tKhSGrN/7lRTjjYal7n4J35fN4wE5FMrnz3cMU+YAXzG/Of+VDivto+CTO5R2XRnZeP7TfsPwLGPQHmyVcCN08cO+buSL35N7WzAdXTRNVNH5kE7AfIYO88DbQy4G+Zmwjtzr923v5BWKeQee3D7Whxv6PJnI7r2Y++Wmm/QwzCxJPGNkKDfxoA3GE16txKuIvETa3Rgr/tV8OHUlzrSF9+8iBU2R9N/bM8m4vfoOJtOEA7PuDlCKtHmf2isxs1jkA2XyX/YRyPtOryfJYViHiFUBmCnVfiq+enoEvW8pQizfC71W5g++4loyskhvrZhAaw5FJE77ZY76CtdiZ4UaOYooSmdzCX5J+qKVXaugl92lpGyX+LLz26oDAhYgVbDVSZiZ8IwNaXP73fugx6wbwXqfqEQWvt1YIXXJjPt9yBkwBi7/fpmL4GpvOEs9A9qtDXGtQErtSMpdzLBYhRuQKzRlp4iIlnKIbHWYw4vaII2bGIWm6wDwOcd0VPiKsEmaJA9/bcElV5ikPKFHwFlSc/YFao2u2XnJOHKuU4B6zunlmUAZVD1jmR8Mb71J4Y7ULG50bXv4y3O5I3MK0K4NLcbqzqx1SiGpdEDb5fh2swag1usl2rmZwZMsMW9cA30tb3VqZeADgSLMagO/Z6p0TQw7KpD9HMDYf9gO5Cf+G8RzySBp6KhpKNMWcA9Cjrn1P2b/9xdFbf8V0XJ8fsMOp/GcAu17PyO1GdhFI/g5IS2WzJWZ3YBBj/+enjVtqYfoWc6vHWTkRWiYEdbDygCaFfvv9dFn6OUkm61Q2ic1wBrpS65VoQ6L4WmqJcZNutnSk8iJHJly36W654QswyQV3BmwriIF2SvCPna8kJQjuFRRfye4Y8p0uoe7HmpdupYklV3sTLKNBgn0yBcbGjnDy3cNSnfciZL0VVwtkICg/SoUeB6O37RVkAsL0nhGcuNxKkulcAK5drScCfSMUePOa9ccfcfTq59oWqOTnpwATSS7gsFtQATLq4YBCScCkMNAkNumM/etvtO51zStscx9rF79wMNHDmiJ6wHsZh7iS/GIa/1vYGkvxr2TXMFQGQbvAqP7i++zDt8e7Q/PTczLI8OSmwHHe1dns10/qnuToAXw6NVoHLmYfHUhhkNgvic5hAvgedzt8ak2COOGBfKTBWl5VgEUy/VTpWPBrCpPzY7FkTEvU2P6hcfOBrGYjnFlyRIvWYr9jAbr2GZv0E+rEdvhTJ36duAZhwWA6CechVJjxK0XLCIhu2BQ8v25wkDKn0N+26prguYFxWwoiYzXpNrio24MAX6sHIxT4RF08U8FAdbGw49aCvph168/o6bt60KNoJygHRl+oAXD1X3Smt5y7wEj/XGLwL6yt63JTtoC4OaWPdDSIUFJvmSu2/eysBqYI8SsbV4S3fQ/adjV98ikEvXkEKGHpPmM/cTS1bKgx26R/YigdTVqUEKXiuRAmhK8Yikc0jiK7ip3OMl98prZ9qPW0SsC5aYTeUA0otHPH7iSZzxcwn/Ru53WqymYCMnNizJW206pxcwLaX9fhPMUkt80murVY05qnF/pQSXNEiW3zMCbzUkAo9xaxPECSZBOjDBtqgEwizo+BHaewf34SQPnp73OAXk1weCd8ojnNpgD+kEr/W0pojJRUA3Md0JXhe/AWjCrAGX2+v4+SvtfF0XBgF/9oXDm/hRt/3648J22r0UlCz0/QUidTrN9iGvs2YGbhZ4ZQ85gAjely36wgvyfbJHRcQ+pH7dPvOWs90xxNS10d5mnb120RPYp4QJQzPrtB+SujZagpDXg2fvjXc9PqB2JENtk5J21Yt/kUPMrCEUpSmpVO09uoIyA1oMsFDubxkhs4NZwjxZo5Xqf24j4VUzEE8+r1DQ5Wk1QuOhO2OA0Tw4bz+WYKSFKXnIJhbB8nmU0TQ9wiyDviqy/ycL0aBYWVxJu0XBDFXD/CvhP8NlSOuM3e7qJClU8Og1bDgBdZV9AefwAgCQS9xvXEL2rjeHDl2LzrtUcBtNzxZqFxj1bGoxCh48ezy5JhLT1vtcek/5IbYKv8jpUuibdUq5Z7YK61eBtT+tfAJO4IQiJPa1in2weHtoO1pB7Q1CREWZfuoqwil+iZFddRDJIFwquadpCalxiYv0Enw7MibVMBsIXCjBNxhrAg6dqNxemQTuFzG4koflJKaeV2YNXFsBwct5WMB+jiOeqhF9ipbVdJKVd5z48CaJGvQi5E4rBoyHyU/plnSiKM+4I3prL6Etskg9KG1sqVLgf8e1gkYnvtdCG4qVxqXGliXdtf5LGHZomg1eK1j2yzCVdppGfoqHjXfL+jnkbl/Ab2oTonV9aIywd21t2VNZsb2dNieLTApytyqNlUyOkcN1wwh28Ds0PIDuv4l1cOBw0jCbKNOJB8F7BtxUKOQN7RY/UqQtP4uXdpya1I9NyCLxyp3CYx95NU54olnN7xzCargtu+A4ByrR9g+9dXI4nwIHMpt7pX9gg/krqHlJoEiX5BJsjXYLUzSVMM4dWeUy6dHLDdbfRej1MuqPBR277/UzaRQdkv1SJUJFWRYCPoe4BHYbh78DFQiNB/G7mGx/FKj08srGvSJPiquj3XAtu+R77FPzlhggYZ/r4l16XDwH+O139rCrrAuFAUUPGLWDKiFa83OZs+63d7O6tp9ybo7xccrjXiuqYoH35xu6KNf9+XQ3c9viGcHHLwRyPtB7DkNLp+FoWbqvzZpaBM6Q080UGohwZ03Hd22GvWNQKkYqCNPF/jufvQbo9zLg/Ycrflh8JhB9VglvneKDxDeINLxGqc3Y5g9tyNaQsQxaOwJSNGDVnoE/Jrae00g/YQkyNElSpk4nP46H3o2PfpnL7/7GyC2mr98084tz6O2kXQxnh6UQrcFIPlHxD0j59c560mICtAtZoLFCTEUpH66amePO3oZ6vBSfTOimL5uxKukkysGErTeOHKUv7ubRZMY0fMFk/ne0Cv06bRFJMpLHmy3ndISbi8ymPBieVz+BMVULfErSMBvlQnXwkZ5tNwp+icC4K/QVrX5rgV2yqas2LtzyDnhKr0DdqpnxHvouVuy5HE/olqemmI9496f/P4rvoyWCVGBGbB/Ow618MdkDbB9kTPNuo7pbYwGkh9Q/RY5SXcOgOyi00cKasCnNzQZ6LE3885jPM4D0QqMIiRt+XYHVsm8JW/XJ4noKpK7yealyiaousawRm7IUKuwos01FQtTyBdaqFATsGcH4ZfLwpRCFLtTc2ji9yvxruZZCHwUA8RYX6n8VRljHpY5RbbrnTnAaV0hkY5oARNPecwBNfpsHhkcxsv/zFYzF5KqNiEWU9cC1Be6vgc4j0ir7+q0fh/sxxvC2niu7vCTWQZ6MvRLrTPoHCZzonNfTE5khglKXu70gu8rasExroMlmZ6smpEDyxjLVcq+bPIdJcIqts30+Y5MOAN+Eah7YE8IignkLGi8ZrpbBY3qeeAGZMKbK9OCFVJbCzaLw/mFCrebphmV3wFZIizOUY/lHcw+ZwKK8KR5XzhFvp5fPkJlLRDpKm2UHctVeXBUaeBLnGppgU26wm8rifUdFpl/XNonPG/rZXIKbXPQ/TEndZurTP41LUjpAX+Y9t3QqGK6FqRpIPT+j0EbBhHf9o1hfMEkukLl0WgeH/v4L3O0LckBXWiVjvlhpYQOH317rLy2Csyq5gPmhDboT7SH+rAATk1eHkJuuHsIQmTIGtHRD7YK1Lq4Pie3zeY0tWiliwTHZpb7hPk9jJWWXRqtV8Cd6FzL++itDeyKWsOqH59u2pt/WYo4FIKMpTDwxkYEEKPuPE0zeG64g9AqJvbN9StrB2oMTPclL6q1qpHcitYQKLriFhrPxxsm+EOKwYG1xgfJSPTjDyupqGalThBIHdHxfnVpRfh9XK+aM+Wg6XlAf3iJ6oIx3zo5iCf1tCtVNMh2cQfxjoI3GLQWWG+u5i6f7dxsbb/cV2z4AYInIuY5rAORKkee8kA0PQirWD9AKGyC7fd3J6PZ8uRKdjilZ1lVO2IUvNWD8yMgBqTalSmbirzqf3dwIy8j0TAjOT2eO1j1ethns0x4OpVXGdRmKoxCMqF9dL+aqpXvswajGWxnnka7rKVe3fS7ECBgdfNOupP7Cu2zv8lyrcSRh1gL07CGmVK3tfxLirfR8lnM7Cij4YJoM3xXX0lKbg7agcUH42eL39nISXwPXfl3vviBWUgAIxV0RqGVTk2jOsq6Rbxz7EgzvhG5gY24EgB6ETVecS6jbvkHi8A/WBLQffuKZ4INQG1UX/DtSMEW/SZCDGU7KtUGqzjFJKTBNehHuSYwOIOQGjFfVwIm9W/PysTJkeAckzfveBwXUHCsl8Y/ePqNszRcSveMuRF+tq45JAJH6uf/zWLVTk+PX55mr7JT52limaXqT07P1j/FioHQwkY4SxDbEtDWTdKW9b2y7xwsoh25sAAlWC7lPMHTmUokYRAfVqyVrjyLvV6pq8VmjswIuSJYuxG8aajsaas2zMTOMPuQroJhMad3QaMRqakXFdGJYQKpddsz05FRz0Hwp0PTZnlKkuhrU7nAGDKaiMVuJOGhqW+ydUE+DZnNERORpdzCZAzINdzHHbkwNEjNIhL8mvzqAI8y4WBfJVBiMZmiB3ywgJQH8YVEaTdEJHH0RawKg36H8i6CTAWkghUiv/OJVBKeiHhiHr09n29xIr8J369WSNEEtqpXhnIkEECE5DGVv/qIAf8/mk8ihxK/PQijfeYQqR3yqNugw7BTeLkSwbC/hcUi5IO0qb0PTl0hq7XFfHPh8fAL3Ij3euAfNyzGiMd52wyXz66tsth2olHkse7jt7cTkEHPE/8JfjNyoVnlhr/rOmMAzcIUEEJiUqf38Ony803DeNiisl3HHYXjBY/LxoeflG3GrKCA0M2kKzg+RNi3d3Hlx12CCsFGVSKOUzJgAXFLIQw42dUszViCpRlFywvLIQJFkVeEa9yns7vvJI5FzysMhfskIEUS+cM1igaqi0/mww/0hStZe/YTZl8WvoKsal2SVBbV81uMTgFmtHwY0Sr1k/AbXVdRx/HK/gAltFmXbyW8osTEO2s2BRNrVe6X1KNcyjaaa5uFJhAc88XcPOiH6Qc/vwJK0t9FZJbVt8/mPCmbOeyhyJyMIU0zC6C0USI4QYuNkzhAukAvBhIQkZBdmpT6Ci5S5Q2S/v/u+IreUkJhW5cBcgCgqANWHcrDIMQFKBnFKkXHBPYg8BiQfz1t/1XHjPdBWGnqjEid6yvy0v5m8na4UjAtQFC4zdh2cLUgP9HrxN/Lsj8z1seJg8qRNZZKYIsJR9FTdUj2UhunZJ4O+JlkhWYhxfgmucuu+QPVCNdPVdbchnAjLBlMFtZ8aOvuPTKFBn/CYBDiQ9zxzMETp34IAb6rEKXCmWmGip/0ITaBxPNgEZynbGN0r3ooRi27PONOOVp5D6iB3qbE7G9sbFixNRLJLpxk5yTjBoC8rv5gzB1H4KgL8jOzOfpZCWMlWFgm6t5by+IDAkA1Iyf/Z5DuwYQZF9d1yn8ISJ4okA3Agvyy15aAJ2k+B2CRnr4ndNdBR5hrtx0J9qv1pbuyrJU0ZgagMUMd5m00YObmCTPAApRUdwSNLD55ZkzE3OnQ1z5Amtg+03HOYh0a4eZb8o9jsviOGyGXFAqKcUmzoU8ka6jxPqO2MNQ+gklFgrq1obObg2vsIjbuNnneZjT2lvNQjzeom2+QqOR6DTcEtOzE8TV6CPC9OGb1iiir201+XFUl4CV7U8lCHdFM+ECiGC5+jF32vpley7YMnMPwk8fpmFwV4OV53TxnSThHS5fvSpB+vUh6Nw4vRC5qiLNpDnCpnaO/ZhmG1wW1kRGZsWaa2/89FXyXRxqVh+1mDoLWeApDCohp/ZQdsPtInGmJ+qtdS/LGMYJIesiVB0ARjVtVcFh34tHjfk4xX+l7ynTFpZbxXG2Hv48WuIK4H13rOlcLfJRWvLRt2g9MbVxq3Ig9Ad5ElFprz/4+tpDHw7R472IiaB/TOlm6xdvEnI+5mf+O/xl+k6llFnIztiOZm2vFs/6slmc6oJfdR/w5QRfEaRwsEj1P/pg85AgYvQOuFXcZFYI5YumxbS993YYlvJ34iow1Pm89tjmqZm6zFxLuqg3YK6P15NvBl8DAClOnOFjqSWDYkuGFFG1ciY/mFSt36wr9osCb5PD4Zde5LFhbXiI/T0bKDTW83szDb4r3XipmYjmLQn5RvgqqAN5Yeh3puLLaETGNEs2TNCvcKdh+seqSIwSdLksmD28i4QmkphZz9453QGoXPw4IgqUZ+P+DliLDtXQodWXfyH7wZMyZDRkILA6TeGM5y2aHby1TuqTGZWL8lklzgpdDC9TlEifExJkA9VMSPkyef4qSYO9SsLatE21DaVE4rVGsJk7TEelygvT6uzgad9PjEOFwuFGVGmmekI8LSYRd13FJQulGO9usZvYKZ7wL5C0VJ8sIM8zEVnvzLTRARYpAvX7Rg0MaJUEC6uarM3/buIiyXRtm9gTC6q6hhesR3bmHq3sxMZ+k20WFqQHGjR+1IGZzilzYEAq9gV2ZoVafMkvceVurdfybaWeB2KgQrj3hX2FO8ODKWuRYHgDRF7TGDpAtCeSSqnl2UQl7RkE7kexpZgpCNMuw1Sd8eX6YJkczdDi4QJGvUn5muMakE4lMF+7Burq3vu/3F1a+qn1gWyEwoCvquvLeexPdXy/emdrmYIQozIk52MhVEm3xDGEE5qIPq8+QXZRTbiSfkK5TzhTfQzOfNSogRAtzSyWrtuXnTV0zgh4oXvVak4hz0pwUYB0u1nlpfU2NDVZIViIiO5iEOAvMPlEmhKBg1N6GfoEuHaHYG4BZbZvQPJLpzOERifL4Gfd+v10Vd6Fv4Ti/Qj03ShHgBojHYQLzMUQ/1AbWKD7BPA5KEF5BVvUvLL5wC/YVWcmxmhytCntKwuDYlxJY44wSIVKEoZGCmMXnFDkm8UilkBH0BOcRA+4MBBBpzBKCC8oABu2cWmm+4paluP+FCPUM6WknRnRVbFXx/rKuMvjGsMyUjLJ3ShVXVhvrP+wyI7wH9UfPbFmLEEzMePdzsTd8Elcm6cdf4emzvzKJ+aAx60wh+/ROORJu9i9BnEXOphuSNO9oB4dWySIEAM/B2l9gD3mdQ+Hgpu33ma0DU2N3ccANLzZ7lBMJj4SKC60ISnMvgl8QkW70Mdkd1WiVqz0otx0MJ5Dpv0LsqtZtp0lGI0a5IeQtj8wdHCeBnJMKT2j/XfKUmqsXDNzngBE5vrkyBQSzQJ13l92CJWS+pJRCgr/HpKMlOiVZjf99rkTpViHkdXs36DbUacrEvADLbJhgVPH8FXpiIfS/Pnz0uvCDHk9wDR7Yc+EqXCJ3mEsRV9H8ijn7m0O67YMxvDabB6j4ECiJAhdp9sdLNoL9uQ6aT3uBAFfw5sUIMcjrAuVMdSkm92hhL3GfMDtv/Gr0ULjzXJ90/dr25mjHdBnt2Qil/nmy4TsJPvTImoo1yj0lnmvc3oG6AWiqgOwWJ30Hrk21cYauaDmboykIIszQi6ygCDtdX7K1rK4/ox8qHyimimohi5zM//2orpSec2WwnQ+yTZGIJzizUK8FpgdVh0j2LB1z62Lcp2nAOWVPncTRwz9OmWgWNKPIJm55fGb7nubZf4p5RlXecASde3/z52hRyhxs8lGOR14JAxXbRJu2EBtSwD3SbH7RIu/t2rru1uVCyw8mUq/kAx2rhtfjQdiiSPoY+74vgUsYLV0OO9zCa45WKZWxdwXt+vnhWLIvWoF0orKBBm+12jnjrMKePEeXjzc1QJyg1JA2vrFYu2rpQvjv+had4/+GhbmTUR9uAodGwTqcDW2rehMvTKv1WOo5mpD7ZJURyRVsLv2Eiz7ZlQhS814zkMKewwBJvGPylQ524UkcLNEs3/4BhWMQvSX6/8IHmscNxS5fSXhP8o6TGszrHdPp+x6CvyCWGgHefqpEp4Ui5DMOE5Y83WUGlX9bf0l81BAx1RrkjR0OT1k95YdBYOFdIWhajMtEhsnSBYuBCBkJXz9jhGW170hex0aUtdy6Mf9u4YEWv7COlpyS7x3rwWpSCxQia2Lee0HDMzU8QzBNXvdqySKUd1vA5bNXZjGybKhbz3mfiyYB2wLR42X6nWf94/AiOu8GV1M2AhGqiT+Re9ugE6oRcFutZ3MlhDMpj9ygfann48v5NhMtJJR0o+EfuoKKzz0tfqY5KwhMD5pGnq+P+lrydvEfmVxTph5xuN5+qJAuYU6IGGOD4r2Uo9CvjRMG+IxCycFDquluvofHYmnlxayVg7D6cTYK9VSu3RIbB5OgdJNi+irOaQLJ16dAb+fqKqa6rC9IHYnT3d6A+pCl2B5d+FyPrr5ywDLkxPh/nHMKhPQerqzEbTmgIeUzJdpCzEZom3tQ3YvBm8rQALy0E9zbCbXqiXuSjiu+2C9/6LOkKpmkl5iJH2yLAtocpGKyTTEZVb9n0juZBuTm5XiFnAcGqPAmHOvroCvNbzo4xxnURlA2l3XbvI73ly1wgKgH3b7N78VIWaeZrLZscnL9/vFimXa7ixNEWIDgqprnZlYM+PlQ/W/ti9U7lATf7LHc4PUKQJfdSoaMpsm06B1vVkUhPnh4aXGunWew/M4QHW11BPUagmkrK/IyfrL4ejK98tlJ/wyfLuoSsIPlnjmDDwYBJTrz7uA2td34vaDaRBLw/xLaBWQ4qbfCUD/igXzQo6y0mgd92tBAq+ncPoV4S9Dje7QXru+0Rta6zPddxOsc0vrgCoA59DI+htzEWXcxhSBoU+jA6cb0MNOW3wLCLx3kmXAVj0EmfJCG9SK1jF26x58kSeUFRxZfWXshSm9k500Rb7XNJDFO3//VU+URTgIX/c8sPiIqD5i6/vTQVY5y/wBn0gSmgIDYIyJjXhWD0rs7Kc8Uj2IwlrzjrMzyQh2l6IHvICxFVmTaUMKIUgYYfuiTTnO9DTN9Pb15LTsmJcDvNogd6ldmVMyZnO30NuBcUwOfRvIDo2ilsKRCwSb4ahMFuWXphrG1uEaAftNpr3kVZOtg+BYRx8XyoNpX1NU9+ICNjM3s4qzIzk5wWrXxuuc0C2sOdGFZy3/4+0qC0+OYG/VlNikJCmcj9Qc/MBr8uWzrPA8pNxt2kZkIcZb7CP6nrxwD8dMxqF2R5MllwtOPwZ+RwM0Olu1ETk1QPsWPjAsdSC+FWJxEZYKSi06V8HS5bMKq/XK4fm2d5o4/qvuiGYLkQmcxhXTppSmzMfj4vrMPqUX+MMAiO1vIReW8KutFmvqPVEzRjT65RfFAEPixEi/MPakqVA7Osj6Wa6MxyfcIOFNfkN0uPSyCMzrVVyJDHAG8EZjQapW0FwY0ssyIuIMIqW5GUxXTQPiUNp/qwuJo9lOuThxXgj77vkIh4nse1RO4T2pXF3YWWSS4wGuteGuwt0xLJHL+MSa6cjfmYc6pj8NXJ/EO76aoc4rSS1EYipf+8oWgGijtPCYc/bUQgRfbPb1OdJMoNFuHO/BL17sfoZq3GPB/btiMrazu+mp4QJpB55+0DYIfQgQTRaOZED7GjRQ3obH1kujva0DQNfO59JwBxluUMO0wb84GodYBZRGip8wmdw43x4REgH/M/kMjkcmycGAXr2oyziIJC1L0CrSdOm2cEBbNRr+q08vvi2Ftpn2Yfl60TQjcaKn7YHKwhtCrnhAvsXKpnbNBOHfRDt1+Q9BT6GT8RCfnTzyI4KzNkJXXiW4VpCkLWdrxKUaMa9oLrN0BkC/iuWjvaAiix1lLvuHgXXlm6C1PPFGnpPHm5jn+oDbUk9UpbjRj/z/89rjQFj4O4GzrvbmDRLX7VIROOp6YQ80FfhY4jbgXBNY0iisrPtQrv1+71oKxWH0lZLqCuu6ftWVZjAa9GD6EAGOfGweJ05vOlY2zdq/S6DI+pxkAiZ9EGAQseRVQ4xaKOPCxulajWyJmkbCixTMPQ2dXMhOMcVlecv+HNntUugqqCb6SXh5LpKGq5r8+g7LGOmVyux0M4ZgYs005yh+ILEyBNf6y8hbU9MIwScSi/o8zyg8/VHwyzHSQNoR3YQbpQCxHd23IHiO8gQFinR+mpk/eQBike90qSc9Y2vS+Tw4fQbOP38++I9Z/xQgFK4wEKRTs8NNhPI1NN3P8hD4KFdUyPaqb7woHPeI9uZAxoS69hUFLlBi/NqkU/FxrU/L/E+qv2cXownIO6hs+cTewQ1dtKG9ibbh6fIU+wHCc4AGfbOlloc/0tQM9QfagQAXOhtqiXmiuVXfhd5s/IlDWJkoGlUa0vgex2cGfW8icjE6CS40oVzdP0IBc4m0Go/XCX7kb/BnwqnyjJ73d76OaAxdJe/cBB4cr0eb/nuMcLxD5efZ+UwgpJVOEcDbUORPpeAhI8pCT9TKkl0Q3svkNQM3LaFyooqDKEBztGsgMu16oiBsZg3y5NeU+YlIvUEKJshMHHg4El3dU8cDxR2HuhOf0mUg4okUP+f23ZHno0K+2KEtVXznL8yrFkAJQW7IbhLD0z1h8clvmqarmHEheeWYYw/0Sm67rMgYlz8Iv7IMyfW4A62xx7Bdoj+V1cOsio1hdzLtIWsnkRLoBpTZ6ss61ZtNPpI/b0m4itbXJ78toC3lJITuL2t+36uzdJcRNpqdl6aG0gmHGxPdu5k7Bj/71yYBJ72a7rFJGTgFCZZM5L57e+MIopuWS91AIAhkr8Ce/X33ZSDvvQVw2Kxji+r9NdtAz9gpjRgykYqAS1WlfXBugcvEYSa9A3mPJVuJVaSKvXFc9kS0fpJdkaO3oE0ZUO3sDaujxnhYuo81MV6bN/m8Za4SFcjRLCaQpZPpUWLSSkkXw==" title="Mekko Graphics Chart">
            <a:extLst>
              <a:ext uri="{FF2B5EF4-FFF2-40B4-BE49-F238E27FC236}">
                <a16:creationId xmlns:a16="http://schemas.microsoft.com/office/drawing/2014/main" id="{7FEE8FE7-5558-4B1B-8B1F-CD63EB83F19C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55930" y="1598930"/>
            <a:ext cx="8232140" cy="4879340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4066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Preview in Excel and Move to PowerPoin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1295400"/>
            <a:ext cx="8229600" cy="685800"/>
          </a:xfrm>
        </p:spPr>
        <p:txBody>
          <a:bodyPr/>
          <a:lstStyle/>
          <a:p>
            <a:r>
              <a:rPr lang="en-US" dirty="0"/>
              <a:t>Use Excel as a scratchpad to decide which chart type to use or to identify further analysis required to best present the data. </a:t>
            </a:r>
          </a:p>
          <a:p>
            <a:endParaRPr lang="en-US" dirty="0"/>
          </a:p>
        </p:txBody>
      </p:sp>
      <p:sp>
        <p:nvSpPr>
          <p:cNvPr id="9" name="Rectangle 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JtXB7Xmfi3BZlo+AgV8FXfZuaAzuPxe3nxXKWaJ3vN+0tZlZZzC1PkyMpq+I5uiWfI3X/D0QLi10zKwpsaOUGqYB5+mCYUUQa6EBQZLCc20/LvIMn0OpSqo5+73Ss2VAhKloc+pvdioDpoK2NfJvUftlqD9IRvSvO/3MJOkm99BCoPC4GsrMhEqGyj/fIBhbCZPgzmVfTLaEwnAK1Snuertx8lT/f1+fd5A/qXra5qvodcBvsQyeHT/IgXyK9Ayrr3j71DJwxHo10ln76GSGqxspaW9LrKXfsS7IIig4NLLHdc6kuDEfjMGb8CSy6lZt1zFTVvatUkZC4W0XCozGbD1XO0N4OWmcOnjt6aN5GxIwcWfqvs1Vh2/MOyTu/9SFbANosC7u77kjv9NbPUElSGycXUVhbfLoDfOwQNgLnx/Xvs41wDSVLtSJHF+HpXPq1bZvOyrdg8lmg5MLxJzk/5uixXEcaxqi/HbFnb+oC5Dqx1wHhN64tYqsDJ3Le5Ojd9Y+v/bzNy5tWbQDVej7rd0XdCw8cvakcD3WYbdJAm7YxnLeIp8w/zEusrz393CrrMjwLU4bxwGA41X7A9U4yaHXGFCh3ESrvCtZVveeCCEQUVs4CrQeYlCloJIbNmH9Ga8Lbpn63u5s5A004iIhRlITnGycIotlvuMy2XwdsoMXKA1ylqvEf9PvJKvw3RajL8gGQ90A2oT/US3XOXsXORvLpyOO6r3bRG/EgRuUfEoLuYuA1WFKjzQMKcmlKNRyZlpcLq2PC81EbJ4NTyHgLn2SCesjo3Z0eGW2NGAfyBYNXCidunueUCc0Xd4ddGyxzpRmhmDpTk0ozu8yABtIN9Bt3CSkLo42KDLp4R6RjfObIgyJwG6lvChBHfb0Y9d2iugBb6MEnuUUWP01VYFRF2bnRsW5nW+r7PDEOh6pT+6x6MDOVTSEuPeyki3vIl1N+YYicAGtJhj3OiBxaUg2T80hXMdz3IixOMbLXy0DIseE2+t44XbXSWNgjdRkMMqqu2+kcvVNL+7a97z82Um6nRsiYguJp79KXH08oXARFQXWtbC3hiCReP2gbNI0k82KH0WM5MxA7Rot8azV+WutyE7vt1IjbE/dABa4BxZ66qxwIJVUIWEDJFFzMHePSksm9o4bTYNe0uMZCN8hdS91nHlMyxPl1dHQkm/PHEsY/ipU8Ilk0be8p+ZIrbQh+Ijc5EIBsbERVpQ81JoDPuH1UVJ8TaHVO/ANtWK3AAvHDYkSPA5iokEd+6EwfLE1VF2ynfq7rovSIj1D7CueA/HeIruR61Wh8T3/7JuhEKDEQO8rmB8nachfSGSOaqT5af9o/5GmCYX+CZK1AQespr4BAXc3sgOHDy3lyMAyPasF6jbp4qhLLfBbgr+FYXOAzT1YRo1kAjHVEisBGoAvaku5DG+4a4Z/2ueeceU5/4v1AipVIxhdkyckk+dwP6dbtJuwvMW5Pv+LTPbT4DZt+AhaIz9q57q+5bNUYRiEmdxE+/tAsx6ihx8PqWmrh9qKto/gOYCtSy3KUDmttWdUunQLBwGmo7D6Wn5TM2a5hSPALIwRzhY+kgBzCcxniZFUp/qcU688l4QRGOzz5RBlXqvyQdvMjLU7ijINFhHNU/I/Ug4uAHebqIede+4iZg/xtLN5W5jtMdP4vgwX7V0G8CYsvfOR/6P7UBKuyTUrkpy0BhOJnyynStI0gr1iTjse8uYU1M5vUzx9qw31wrimrBXFjcMeiG1Ikd0IohEEQHvcpuw1ms7kBxTAQMSPhIRCCP4mJOn8DEygGwepV5anfeQ+bXjg+swPIVQ+krWn1zpNpPHxXpfsYCiGR+TqLzEX/SFSliCiUOIxOCu7W1oDeaGvd/rggX3lzujaa4JjTxwhHHtmm+e6Tiixk2+Yv76nFK5cw0zeXOf8PRAwr83tKoKmkV8nM3SL3JIZiuG5FoMQOVG+9+6vIb1iwN/5/PIDH8/sxIjjitGELxvOFPn3VxHqe+di0k8VGMRzjQhdRSBtJeMSXWp9khLlKSN//YKszXZyowxbG4InHGd+O594MxJXAHQpmWtnqx2EtWgvW1JZDu3U/wjlTGd7GEA03uZFI9EaC5HV4UB3ufq8rkf8v0a5mmESUL6e34nH8Rwd+btBs2eKBIvhm8t+87mKWmgnngSsz0mxHCzRGzlYILB1AoCN9tONYiAUEF13FcyLwGZ+FIghqF/3ejYqMkawg+KPMp+YrlCHgdV7WZzAm0Abmfm4RsYLkOSA3tf/0hbJp+l4nIKTCKavf8H3ADnvIB+GHK6NEyb8WQ/id0Mtzrd/L7Dba8yOOWNfxcmtAhle8hw0HxKy/4xKeOP8M6gNoEcG0ThbtIyL6519RMXJiZoaEc2iEVUsmfJvqBi68gTG5qikQqT/hcN7ILTbY/EX/smRbk9sEmmuKKUa7FVdR92BfGs2sX7MCCUHoq8gbV1nnLxKwfkRdIbZycaQyS7tj2OoTkqWsky5iUEh/W9SI21NIasULk7EP8Zj6/EIkcUWfk/upcM1Tv35qRw38/jiW8kKKELgNA5cBx+l83oAczQfLjsh0CABhu6q9SO8ZLLoVRGKe14B1JILa7NqtVKs6/+yOTZtAD/5fGj6s7c6Ag7S950o0vG+3wKc/STKz5+EiovM0fj7noJOP52U9fgc6IdiN/+Hf96sfpJUF+em/mfcB0YM670VaOxSbL55beCBtOD9jVl6RIqwTLj08r8HaKZJQ7Ju7gmV0g4lO7su2n33b8xWQpECxSMW8BmvfrG6TAG8nkkENJQe0gQjPIZifnbudGGCAt3feoPq/HUdk6QOmZcKwsbmQdq/1+ClI+KP1G+fd4PRwriDJ8NHup8QOhd58457CPLNS8IqjBpNTG6RujAbH1MGeeopz4rWTKwG+6U5OsXFteZGxyzjiWK8T2cv8FDtZ7NilUMlZqJRRiLWHFAszK8HOEfWG59DFClocjxZcK6X9ugpR9kJRTta0/UKhPWjsNfe562XeWa9Ps4+SO/+egMUIOt6VQc7cTfeFor+7bm9tU/FkF0hYoDk3a//4Z0v986uwpxejPjRZkuzw0e1hs21iQ63+0vsHtwunQ1oqzU0Qr9cX7VzCcz0ttFGIGK8Cxq4QuBCYxKDE8uj0N2mom4eZtbwq0SmMl/kX+Y5Wh22qCc+y+UPtfGVxd/ZdDhbaU4+aCi07LLn9Lue/hOQ+aX9KlbY2IivliDN/1Sw+2/sMjlqS8hySGe4Y54w26dysewLybOxPlz434Shh4AILZr+oOCzULFQ1dHyM/ffb6ka2RDYNovS0OX4k9UNn3amQwSR5IupDjTaosMCqB1mgkhEMsyePG20anL1rAz22tVrWpEcaNaKcw2rFDKfkhEcTWTYtgyoC+emKzY4YRBGcgfHHdIY0ObyqvXETBhSeACX2BPwDNQdbEdwAGZL63CE6yuKEYU/UmTUZpFXmLuXp4oTCSD1N6DfFVSiIBHUzDeK5/zIBQOg/h89oEziX9lgM0v133hic60d0cvV69r6OxJ32cQk3z7ZEU+JR0U55wCweGz9c5hHEvVbFl2KUneho5Feqs5n3o00ETfpC63FxK6GYzCFnK9SjL402l1d7KkJ0MLcxkd9A3e6+CL5gjBxJpgkey+kVqcmYFr5vEWf8hP7ytbSne4cdnOJdov2zgxgQOiDGeSsWrylBLYwJOWKvlFYKPKuM7HLUe3H/Wr30srnGNNKvnzjlUfs52HgfYpJDVWyu+eaPD0EhuONOlzp9BC2li69N5M66rw09mjQV+s74qj0kKCUsR5zboeUVZdxbydiAgNuG4ZvwtREdT9gWTJnP8waz/4iu3uoG11MhZfOdSlB+jl6io2dJoesQeyFiw9pv2gvFM8zzLiemT3s4/Uh+iX7AJrJ3nLpUml6Op76MXOa9RbqxMDaHOMhNUYJO7vAWu8t9iwMuX6EsR6th2ah477tM2VUDoIX4/ASSL/bCO1AIt4MUD9hvSf1wiEJchdvVs2LfrQWCONaBn4Sp4EMGrXh5603oe5wBco9R+IHV8k6f/7/VlOuVd3xxkcDnegL3ITYdymyQeum+wCbP9oGlYcjLEPKmTTczq+Svl/3egOoo13Efizr8Shqp8lmbNQmfRZY/eUS24NMLNi646cmq/RE5Uy81rRDyHIQ3crcw/CeHgnFuQ/KLQTH3j9ORKXYY7Aq8ASt+bzW9bTFQXPQmBY6PMxXI6I6aWLmaT2A5SYvjxiVt/QMxNLYng+Thdq7NdZnmD658hzjfp0bPJV+2xGVcYM/JW6y/d7FVA8XVDp/5o8YL7s4/nsnjQCmSyLlaMkp2p3fummFNxlVYryGr6Ap0+eYVPkvCUqyYcn0GUcqQYNNyguZ75Ldg6A4Lbn4mIOcBuSc3hwCgt6Qe5kQwHgWZiiyum+PFDzatcCuXLlXP8mfbVQY8TCwqsmVP50c8ea6dw94K51I3lrHi7pm2xw2j8f2ocmkcQ8y3guVhLGjMv32o+8S46GQ+E3yxfi7g4Tzde3RBy6Yr1H+nnikt/dwqYNwypeCkEuNeTcO5xUmSsdfrZNj24KLiix/tpBod8MfR//5imOd4tihi2SyWBE0RcyblSGHf9QOAorbc5YgzvmwCmNzxBlRCtjdE2031AODOL2xYoCH0HINSyQbJafnq74czbRyjLV6tSDxecJ6eO02KyDR1UIEAqfBaRiywEGQsUXLTChoI18xwvz/UwJaAydByBUwGo2uBlH34yKo8MLFYbwuREUq5BHjGRhhYyv69Y7j2j5mpbg+/UWeUpbVQONFGZ2RWm6XCce/LV+9Xai19j2ElS2U8ZqoSlaJC44sKZ8t+iZ2LQJGQjs/P13ejJ1PBOp1rH1WZFo0ntH0hXVFUbU2d67RKbJI0jITQGcFPaWVs5pMUivvB/I1uoZVZs8bNL2DT0PUKDGXQ9ioIJ9ehDCmQype7OSVbkPEDaUr5Eh/XhMqCdClMOyJPoMxjnxuhDaCtWq173uYRl6dQE7H5ffxi3gFLPo3Jkh1SbrSkwzklJn0rOw06n3gB31I43hAvreiE82ZKWsDtYP+CpEQy4Lj3J/ZyfKgKl4e6ZHp3KpLu7Nf5m5uOB0hMw9tNSifD8riyNZm4Bdl0nc4lvYamXiznllA3wTFo7Zf7q7s/t1OI8N1kzzi8RuV4JIM0GG8gB/SJ6BM4cJ84d1Nm5wSSGd5pLHocj7S8km+88sXoDuuCaXaLjuq8wnjIzYspuclKyPss0j2HjfBgiehvLIYEgYtZxI23ci/6PxXuBF+LYHNUArD9JxhBtyZ9ABhAHinHSx3sLGZZWE7F6MjvQqpXo0yIaAvuMw1hzEm1uMGPe3RyPjBwZHSWzP0BgzlCU7I6a0Bs4slFIpXPfWI3sDEf2kIbaC+/HzfVX7YK8PIWKgXlr19DdskmXxsPaZbQGaWLBuJOb46mWbSZI+ra/8iURdRuX2E1+SkJfMyDSyaWPFN7zuQFP/BB4n0Hgg3gE7aX4yR/WibkOHQBzKK2qdWeKlCVZ/A4/PCHW51+KdLxek0Kvp8oV91B2tDtbgugHTsTNToDaztr3yM1/KDk13m/BRf6INKVjxVxW+fe9EhfWgysWZiphprNq6cpn4Lif1zUFouE6FrLxozXB3bqQnz6pXMzcbaxNHiEIKraPu9a67LIBOvoTOWdNQEpMmJ+9h7K2IHgxG1/Ivllb2+y9rjs/vp9Yc59mpJaBU3xMPkOYaiLNi6uMLwx98qt236pCOOnGbxAgHccs5pf5UzKrYDvVFZ/+OCmm8wMm931CqccM+EcrQztIEec1EFmnJWFqWYqI0tu1PUDda0SNcUPg/+Z2q8HYr932hjpl0qyjq8D9NA9bb3jWhyFzZ1fvYsGaOI3Yf5X//VnikalJ1CAIEI6g+4a97L09rOQJHJ2gpmiN/UsJEm6afAGjIUFvG8ao45KE6whoWRUDfZqSER+gtLRwmzlIOKw29mgMORepZBKlEPdw9MwmT0K6sFV0oVwskAmdq8inMgTGVn+qUOc4+Y7rZC2OsYPNRFsxoiXHqmtx3+lYfIlXdhYoDNLIOImZ4+vfeynzL2Kubpht54pmAGfwAVMBjwfITmYXubV7teh+PDvp5IBicT8P0A1KbFvyt4aG58znqm0X+FkKCypb4cKo5QRgqCdEIM1aED29hy56CWgmycpeEp4PNjcxZRZjZfYGtKBkJwNJ7KZ22I9Jl7seho29uyQ9e5wO7+IfTfxb/fDCRtWjFuQdU/EIywvX2hnt8/3iwXfmBQ6WfBy8zMCRRzgEXpx+h8COjJd/xqvSHWcxQmbBNS5mFPtnw5+WTQS1fZ+wjK886kAHwlnDQzdlpuyFvz91cvly7i0QzNNrjYeGgNTVYp43sOA7b+WABaZH1yUWfmP64kyviOT48P55I2t+IH8rNIrRfgs8NHobkCjwcSi4SjYo0BX1k3ZGz69P39iDonBy6xNWLcyg0/yINvs1IEhPGw70D9M+UxLRpyCk5VeC9ldvTTKkzQakqFMVZYAZaJvQMu3nB0mWCMURpJKv8iWosG0E9cSKsMGJmFZuAEwfWfHc1uZn7XNpLj0xReloqOSb7doJ6LtLfoqS/b7sbxkOxtLUyP8kIGdj2p4AiC4n0Z1twOOtC5zCU1nMtkyj2HZygNwM1YrsTy0dsQmh/cNTYc82zYp4w3wMTVJDojriHFF5gVp5zohCmfRGIYUdXXObj2DE7lP8Ck5draNirJ2fxPY3LlaUV0Egyl+1/neH6i4TPQZ4bo6XNG7bKD48oEYh3d49iaOq5MUnNICW5EIUFde4WUiWNoPuAx6HjD3p911ZrOvohEuEjc0dPsBZ3uOjyOXO3XO5LfcjHQdRYaY+phDxffJX0/JOQP6uqgfBo4icIWwt3FcVBvRskRfVhzesRsc0OJn2yloPRK1vvUiyFX6PQtJJ/jEOiHQ2oadaTTls4JmzsR4wWHC+wR5XNMpCfhtcEzEm7l20SusKRAjNPbf/QaWoirg3+p5/vTi1cZyj6ukdp8T6fkIf5pJesnck9QbX+b5RICrT/lAmF1HtXfSsZsYAkr2W37xM4S+WOp1mnEjgSNUb8cHihqtq4vz4uZ9G/W+1uztFaqc27hgOQ6+LYHapEWWSQ8mhhF6wcxXYXv4WimHi6FiM8abbbx2dRZEvJJ2TOXPsUwf420glSHuQDP9/v3vVCTzCYzph6DkpikpCt8Z5rY7GAKr+jELNQbNP8C56tW3gsgmEtco9922wFyBCD+v63GBZs3WSo+RsffFoj8iNpFpXyb+rxjmvRJWJgMhy+UKDVD8CupzErX/+cNU0jp9Rz6ZUeaNkkUexH5c8ymUBMZUP3LZZVBER1Qad/S/7UrwBP2ArhFklnr7ujUJ/4ERnYLhvLLB3Tc56032tnCjfL8WAZ5I4UZZOIgy0oU7BKis2+bgTMVZC63h47w7krcXRKYjCbSBxA51CXBVMsUNSSWbFdlwCVJqw6WPnGavZ9HVQBOqVMCdDzVowngmHgH57KtGPBAFgE1ui91ro1TeDeIk9rdbJN0oqfI3JbyQ+d23qwNg9KyflHtRMNx9ObQ3E7hJ4VJkSVE2a+EKJJBl08deqEgyk/EfK0Z6xK2tOvgcivABlNr8u2uZxbtLQhMmP7aozv2jGQpOOZlImAKvhUTCb4w26JpCbT/vdd0dpbC2PuYPIof5nwg/C7iEk77BYWLwCfqdfkay79tyPPWQ7527XxZMibDp7X7YfI7UzgU88AP31ion99vQ785QBjo2gbJZIPIh7L0lvegiuoT79VHC/O9x8ipXxOBW/TydnUmeyUptropb7akwBNdUYDv54zIy40mGnFlKBBR+DeD7Sjs5e7FOIyihsViQDLF3TXM1Wx1Soq1eUBFbvmAbRF+VOX8etWhQjDWMOmisBZ11bhk49ZOUcmiGwTDwYa4qqqJf2Fhwgi7pfLy8wvCEd14oyz7dAfJl6AWq1We3hTabaAJEwgLsZSn9ZRw6Eg/TRrj8u7XkApTu7BTATaQzbrGsMghKL4UIil6joJ/D1mIcFYSoxXivyEm2648tP38lxT8awIRljJhRc8jC9jRW+b3oE8vjOYfdOmeK84SvsLI1adK498n+9yWv/JIa/83Ivaa4gBOKPFJeffL9Bi42yuI+eARJDYOqEyVoULupf0VO8dqfrWIBd2LYl72GX9Gttsrv7r1ccBDqypZMK38a2VCw60FTypdBSIM2NLEOpGSpgA2Ml/1EOWzWb7Ftu3wVWF9CiUpnJl60R/QKM42G9qI/Rb2Cpp7DwsltWAkRlKGsXVd/Gkwxx8BJLXwWryK6ONo5ImI3X6l3llQuJM8CnS9uTAn2LP8QvriHCytkHFsyvWoXi3BXkbLWuRA2yJCrNeZzU2xv2eJqWSPSHOf6EQ0iG5x95iwmIyOG7KJ8fSHMet9Fz6WfLnO0qVztPoEk/88nZAZVd7AlHNyC6Y28YV1CxDYemdjkYTTa991JjnsXpyOz9LKFjUYKzcWphw79zv0ZUl9v3KqelzThJNi2mIlzDbd5aiXD0YWJm5LA+MkjxYSBzem9ICspdJKkNGj686xqoXvfunT4L3XLheuqA1XXPYexyRLUqwKiqOLN4ae4upFdQONLkOypsD38UZSxW6Q+dxkfI+oFWsY8VzaqNvQAKOF5Hhh5rC0+qkDdOldRpzHB/iYnewOg/97DojDiK5zXhYGY1+1yfGsxcS6gYgPncx3UTjqC3nVborwdFQEjjhnw2EX9MYJlLF9pRjnXju0VtrR3RaLPyj5cFPIbeMLTzOPokNXzbo8hDEeVJBvd2jkJezEqB1AXY2ZJYJvlkNgFF0wukFMdXm1v+4REyg0Jy/scFPdCQspIPOto2MrCA9upKJXK5E8xzAueMG613ornbw9gZy/m7a/fdg6nfSo/Jl8oqUafG4V3TGsyuOSH/N5iqC8dfGqPTXAXW8jQLa/MOwDYdkUdXws3n+VVg2dejBD4F921xhTkwaJNFGlKaHpmA38U3djXfQr/9Cdn40gTVmeNZjsnHW4XSUpxBnwXE4jaXcKFFqDmAOjZuEqOYXpd5fI4ADvOKERvI1ElufO31fot1JzOg69bTthtrcqStjjUnPfUYF4FZymV19p+Oq+uxI6tnJy/ySbrfiso9rEZQEDet4ud5OAXhjkvVYjTQsc3rKy3jAX5CtfzzQwVU+AMfc5qEuouBvg9M8lrztWN6b4GGQMVPx9PD9r2Z9r5CvQR8X3ZHK9CAwFPN8oCGJRW3I14PfTQyf4ISCgJoNppYz7kDSuvH0l61Y/hkbFMFLPBg1rYj2ge8+fSzlbuYED9QMEYBXhG65w5Y78ZlE5MBw57Ezz0X60et2ORKC4R11TgfNlYv/Wt38agFA+WixLvRCPtlU2Xxr8IFymitTEDvZczst6Z3xG/z/ZVoaI1onPiy1ee8dL6BwrMpOeLi0llZE2s3W4i169aAylKkNxSF8dfsSFGZAkBZUQ2HuxeylQI63UeFtTRBIzZ7k53Go9qqRUjZ0kgOcCi9ZOpS0Og8Y2Rvcxx2XIdCxwc9gmNyJnIw8WHYz3AGg3aFdhiDLNNva+R+hkmO0A1gGXkC84GnJhEJPUMNR/sQw0ituRS8epE93t3sJftpCmW45aadEEN1NXX2BG0t8YFnFZynkPZ4+/dmCo26n1FhtX5t5+PCdM4zCqEbg8BWgU7BAYl+awK5lZL+k8crQbsC8a40kwIvnLKib/CC5uyecNDydPayIoWE3J6wAerTavTOjxvbp1Tdh+MvSoQpG0hSFIHjhukW7MdvONstD6GgN+D2bYiaf+mg7nEXkfnXdyp5dvyFor3CGjZYdE24QcqI7zNSoVC8NHjRfue63QGr6tsstynVMPcJSvxfSztXKJnOgPdCyWJh0hKQSxc+Ikw8ynXT+0XAA6pfrpuRT7kCeQ61dYHLQtXbd03yrZQ9S0apiI4szRVWE/aaluK+TTlYOTNujvvQCOsegbTH1lEG8kXPEtjNkvfqHec+h3yesg8cWHQ7ln+v6hTLv+7FNFlTShjnFj1D2HSNK99N+2xBXthLjfjqPjkZOJxUpkUFX7Wb4PInBA6bl+RqmSXKIC1+a80pRiitcgmBXEgWh5viNrqLpIfpQlvnW40CRQ0un0sbJ/D+YAI2eYgMn5CLZz/oirYCWyQ6T7fXLunn59CBTOy7Z7ObVU/5cgN75g2hUMNEsGy42j2B43x8rUv4uaUeoIGyGrSYcku1QQOfOLDu1ip3MbcyoybymW/oPn2c6RrGXtmo2cmp8l/uuOiMF49BZ5Wpwce4bIrozWr7NZA6MyHCFNwwaKcupyhYngfqpXKu+e42Tzt9voQYEvYlp7nKSc0ZmhStCnu4h1cVjQehU+9AQ1gWAWgS9xuVZP80X51uh0tvJ3sZGuU2lIE5xs2ioYRbx+VH4lTJwbfBBpmzhwcuN9+vMruRG7vYo26S3Lo9OYyxOTn+A6zLnx7L/TUKddTmx5JFE0bQ6MbmYwqItfL0UTR3tefXOhWhqPZhfuCM+FKuxaJmKnvqVQ0hYHPIXEuXfSggFmUZbUdVjFGZEMB+FQTvGn1DtrOWlNVGA17p/XMyyBZLfIaXc262sqsNheyv/J+M7kCZ9yI7/6TxtkwmywBBAVGBu4yC/9Vjj7fVrn2J8PWk+nurZOxxHr5l4qzWQX5IKE/6gQuls8v45INPCpqzuVzGPWoYiN7+7ZordMhG8cUIENQBbUMlUDRUYMTtEyU+isphr8ySUYPHavzbEpda2Or/6uQgwB0ijspYyIUjBU8EYWRotcpXDwszZIgYIEJB87w8SR9Ug5Y+aqFMaRvHmrPfNpzTfhx7gvfa4Bca8ANHZeN+tlkf0QQ2fbQ0r5QVCDBjKAnRUM9yPAid+LKaA21kQFnj0tmN/dfYxCV5ZiQvj7mWL1LamIJ37akl4SacrBWqKkkv0pa1AdIDn4AlShdO3/gAgSWYY84Uw3u3bG/VbjQNkgOuE9ozzK+ScJb9+t18MCZGHtRrbuIyBwNJqmJQo2axh2fhkdDYxEWINZTvDs6ICKCGUfm/q1+d3kHclWp6LqhFkWJKIkHAHkQZZfY8jexbrFiSosTWycjyXF1Lo8sE1rEFApkLs2cPa/RkID2smiffEx3uU6ma/k0uWmA2mwYXqj996i3e3Rcqf5oo3AofmJ7Q1UfMrfCOuj8GSwrEPx5gjyedSEpklEhIaSk+4eqdH2rbJm18PoB0wVmLWmpIU9OCtFIawmWRQsU9ybFP6YiOaGFI4Jz+xxCE45RDayu7HlySHNt8/eF/I/2hPIpcIr+K2m4jYTZZ57EV2xsIH/GQXEnLVv6JhNv8oz2fhs6EKWpWXHE5TVIu4phxeyWEZPP5HOoYj5QJPgWYpIQAufCwRTlOAVwAHhPa+93Re9zTn6JbuXe56tEfN95FcQpdJbo6jLG67CQok0zRRr/hPDM6+AHvQVyt9j3CUBZt9ePaMxyNRmuJ3alCV+Jx4/FLfeyYxyP4Lza2yiu4fSWkdjMs+HFstIe/k291o6yAWb4zS/LYuWwekNH6vy9Mafm4W8SyA9L/DpQMtFmIvIBY2sOaVL2x+RICex6SppUbrH/12yYAPGExYp8vNBauA+vdv5eYRVtTnAnkmU8NSxeK5zFh9lJFTn1U7Eyem3YoFBudyeCsxJgchB/pARjZsMHc/R1ibMdISxU1D1Da3w2AUwBAf4ita8qvHXAAHlpXv4UJt4LOYN3L1pwSHYPRRftwHntabVopIpcCuR+swDErQjEpSYEMBtbJtJRiWwhlEzAxctol0eAOeOkZJibnTEPtdv71iyiOR2J8fNFPqA+xn4WQecuCIuid0J8EKqTVgc5Hag9Wh9aWvNfHN61l8p7/e+M24wHJeY09lZUceZZVWaQg+hUig3NggrPT1umO0beRp39/QZsQmSzjlDvB46vdbDR/veHO8vLoK9B9LBQ7qOaY9Lrx+IWkuagYN44a4IAhgwNoFUmRBCOjrsFLTOzjdmpxColiRBnlGpfVOlfmPDcWpECYCa0Qmuc4bO+6U6NUQ0wNTAzOnK3CPvubNupV5/Eq9hRLxj9wp6pa0Pd4H2n96Qo2KGd6fJUisHmasNWkd3MRyqfvhZ4kvvOoymEI+httVAyD3z0Ag/tWZdhP2wnb6dcozDq15vX2I9KrPbFCMJQr8397ucVEYgreGB8PhxlAyM7NcZ+7CdyLqAr2KP9XwO93e29A06pO1fUoRg82UFxxGrkX6AKZJBn2RkLU2kNGgmWaD6c4W5z1BSJ33vxLw5vkuYo+Si2rnqUaUsaNKBo5Y+H235kRQAwasZBcPenXeEu5Y92WyQcn1XgU+nyRjAK2jlcApEEV4K/1KIldtMQUPbk9WAqDvhWAoAk0Kmzd/yckqUEmeWTtt6m2ZMMGErRwc2hP93CVUhw9n9mgU+adV7h+pcNWNBM+aimEhmc9Xi5AphGjTKCprES5Adj5oDY5rHWjjv5YRCNXHQZDnY6aoiNR1yYhMl1jlIO0ve9+Y2qdfjXylY/dWv0QsyDGCYBtOqUblOPiZdgGHF/2chhhrodfVR1RvSugu8miWGcXJUh4rJcXmQ+5f76yGL3adWC618Jd4lg0Mkr6Nq/RFJqrZ6rqtW+xDTkGS1PEtXY5sEz+o4yTCCUdOxKUXMYNpJc+L1No+NJvCAw0Xzy0LIsKoJBMS/4Hh0gvUTSHAvEOO7+AUREpNOsyv1z97bTOAI2ztJygD0OECtPIamFMe25Q2E83KbBytVt6MpFErDIpwmDMktGaaG2z0ieN57cPtUbuIpmA/lQeMoAD8O/SJ6s3AAZgD+CoekYMkhVWs6Y26YfYQ71BzSdTat7Hh9hw/W1KaBTncf8MarmxKnhlrcTMQokkrLPyvp6n+PCOWlg2os/qUu9/mg9/30ELOiMM9tMEz9cPpCZhS7AJLsiK5Sm1znB32d09KT3hIGOehLPvJaFusPpKgxO7CUa3lQQPnF66XlL+3j+GjtTFkdQ4aXvqe9fPejuaB9o59WSI1Bin0x2S3V0M8wlg3SIW0PfFsZiLQHxQK5DdwX1f9tYalt/JIM8bNB8xbe6vRmVeQhbEZmpokY24gAqJ+R3SX8RdovFmb94O9xNDv5W4pIoA3A2YzYA6S/4ruIUfcUKGb/AEiPQ4YJ5D7ci+Rb4NjBhL7eEdCgHoHlbIxeIuc68fhTzFs+tsCbr97Cj++R8LJbQwxgBQ7fq7Q53KPENQfcG+NQnEswDINlVXES2AEQlnHLTJZQFAvzgHk1kfu+CjEmbqv6QPLRNnGPTHf8YrNlBDjc/URKWL19z4QxruEVGtSnsPZdo7yjsXeQMX6MIMFBMR909urmk4UVSM1Keh4eh5JHcDivIQn+KRZDJPsfS+OjTZgmJCTurje8qem7qAprR8PFRaDFu9Co2az38x7qV2WUaoDQ3tsd2TgGDyc8qVBjreslK5aMY3qiURqDKYRBA1+9R347UGzD2xrbSWjpisPqrcbSMoHoDNyJItp3YQdjPVpIG9wr5f8E+KTfStL6L4Pi5t9lqQhLxJWF5mZ8wHMEE2CUK8BtA8+j08JnyBOS2nmfctrKiJ67Jsa3dVEQATSBlqNzAr2+nvbGYOItvk+WqFtv8gWJGE3WyhuZhEoO12LBSCsUWSW5rSHB+XOCVnggnmHKZfBXp0xgztqSORGsOr1WKvzWrh4EDDhSsO0WQihbY/yOLqub7RViRh6ruSt0IwsLc7HXMPncB+mGIkFsXhV20A72qRXZDE6y06w9toMUPHnK+2g4V/9Gd+uw3LMjbUABfmPVrnveX78Nn+vZJpNaag2lIAkp130FLd0kBi4ITFSWKS0+Z8UEzwDuovKyxGd0kOFdA1pNsW7j+y5vjY0Bcg0ZqS7I4amjFiCWMmVJR5GH+J7o2LZZ6ABHAx2fNbjVGGFZOpsetC3mXAPPQ/wsPLA5L0UTPryTbi7l9K0TJGvLvg47NZkPoYpvR1E+ETcUE6dSlidSZ9pbQ7CmpCfNym9wyda18VRyEDVe6Htu/EUop61b8DBt2uOrKpzy1oTEEZN80AYwB6QSvaHDB36Fuk6LEO9WN02+6aZprjB6kYo4g7jw5pkqrNbZell7T2WB29I5V1Sv4izzOfZ0fKQVir8BxOONL+ZjiMAqyQqKexl3dKw06ZL6D68Xt7qjxIxq1xgPjCUHFrAFcrxMC8NOr29+K95MB44bXQwE2srr541GoKukqaC94WLgiEP9HUyjcYMmcWt8n6GBYz2jEFZ74zPay2U5V2iSMsBBH+xj7Ouj8lWTQ5b/KLwfkgZEtkS09tZ6ob09TYWwd5cUY8jeKubxrjqVFyo+ibaH1YGW7jntGP7uK34F0bb3xgfXPPTBjIrmg5BArizgbZzJYKw6TZmG0XqQlMC2fkANcwfktIjj/1a2sv8k469VgAQJspu1yT+UhZZLwHkos/6Etwn+QE8t+lpjZo58tsmKyrgriO4SeiwcbyfJaJJ+eHDwnp/z8jtFmopk/HgVWqDDKBnuACVXJpbkKsYobi5EmO5rfOZByapEurtCC2LjttB90tdHxIZHmt4cZOz8wD4fVyhaFoFWkYKSRrQ+wkxUoVH3TZeojbOG3PBO1bD1qrabzw2jHtMuSakZAj0LVRpuL5ZdEfgNTXNBNYUPtFGJLrYUGo5bK6mBKU5wLFtpM2BYWO1jW52JyE01f3J1XnFvi9mqSpZudYZnlLrkzYdxqUY2Xha6inThlYIapqfnUPiqoqVZGEXqXKeSCK9Vs4Gjfo4sjDTgQ9CDJkj71aCKHOl7Vi4syIA3FpXQekIIQ+HgEgDR4JeU3Ee2XIilhwIDRxCdPOcYyugjzySJPBZOwUtGoskkCOXBXsjOgwZ4iysPT/2LbcxeCAy8pVvNmETEUSBRU/0UEk3Gr+0itKXyjpxDP0CcjJL2dhhYZH1z8VOrDAV+VTvYQWQlaJc3TtNyVF9DTbFxrO1CJvVN5ctUiu4C41mGr84eXOiuTK1gcvEt+EqIlWVN1fiiF1hJ+QtRGMJRAXl3ZoPd6X6YRfe56TsqccxQPtyB9NKlJakb9oEBFthK67SwwRDXW3aAf349Hm0PsASbNcYa6Bt2y147c/pcaQBwc67mj/zG9SesGx/9e7fm5JKUdJAh6glbhcxP0UZjdnAvRMnu/NUWHRzfXK9OLqQy84QFdVYK6YpDeb8Q86xcEdWheq4GFYyklnkxnR8Fjx5uIE7TVqd1TLSNKzqDoNMAUDyIRmSO0TtsHjk4i/LleAalH7MvWhSud1h8uFYvSMCJfewlxsLTnGOSuWds061kGqF11BwwsgQq4dOkptsdZUxjbEdjtfi3QtQql9xU+7QZTnpJFi6EcUEZzlshq9PRj6yypOhd1EqBn3Qst5ZdDKA6nPWjzrxAh9/v/zGPl00eRuxwnF3jiiYmMq6a8KOuebGTSKGrAOMHlojInaEqkvgYR9AW4ZeBtEtdPtSuSzCyQg7Af3G4vGLzPFMKsm9K8MiwhjJDa4hFVu0VmtuSMYFPBJF8ZnPRXeMQhJOL1xLLFKr3csmLeJpz60UXsJu2C1dv/8XzFb/qzBtwXeJykAt/boZb46gBxiDn9byD7ciiJNgCWuOAxEJY+xe+v9L0efNTOdU4DpZV0jNRjwZx+ULJp7F73R8tE/oiws+15oLnDizvo8mEYGADEiGFY1WzLLunCIE1Yp6x7kAxVjTDSLUcaVIp1L4hGEbx2Bbj17hsnloJNBMBKEREjcdQV2rKulPhEd+jo1CILDqfxMrFJiqEDcpUROHLtSrrDaGmMONfbBt8k4EhBiP71zp4+ykQk7YQ/5sylOd0MeYaE011z6vCKjCgHur9OE1eC8cwAjeAT8iFlf/8VaHDJdKlPuEIgGIVyKwScIzV9zv/T8lcL4YgHFOKciPCQbRgBojfzuzULzQvO99ZN5lazqSm0CoGpp2zAVbs8lri7n5mJmz2wzIjWuZZzEu/zY1PgIPfft84OvLmL1sIH2pnkKU/anm9evRBPdxjNAM/DKjISZKG/9NDWJbM1VBDbVBUlZSKkOUW922Rgb8FUYok6UPCZ76j+mY0KKmx6e9Gpd4bxKPW/SY952cNndpD2Apap8LAQjFvdn1Uuf5HM4XWVr3bHlWB1Ronuwwx5TSuiZi/tyDbgwur528FLE6+m+7HhdzFf4bZ6pLJ17ruBQj7DZ7Gx8nNxkumfom1qDk5ggmnPNXk7p6tjaoCuRqQHR9fMQG473M348B0St+okfU0PCArK0X/Mhximcf71FnE9bqGSddWg3NGZXmUNBMdY1jFKAnU01StAtQeKKCwHDi/kdhGM6vQ6xB3qDtu4Ls4FRx4ixBwdiQw1KGHUIn7NiXSJowjdd+PiE8cmpzDz4bSUuV3O19Y9fkhMogQ6IBRzjmfck2Kvk6UqBS4aWuUqcUwtf7tiQkW1rM0kK8Lc5Xkf/JWrQ+96SlRaOnrwM5krckgyqYAyPBK+sA4lxZe6INStTMzwB7D+4kQQUw5+gnCtg4P27CUAsd6fVxAsKVlkLu1gNN/2TbbqvI0Om31WoscxfN7PqjZMELY9FK0nFFCG+QzmnndOFVb0U37QCdIQsLdiV0s3m5nj8Xwbsal7FlubnyWFEJ8F7EIqaT+pBbT1EkEwTxoShtkBo5XxNmNXJol2UGVta1Iu6GmfrUvf02osLjL3HbPBe7v9HHPjQxsAVdugCBnDv5iNovfhw2YoPMkOWi1t5YQQsko+EqEbUfekeeAE23OiH0Ug3+UvFaBol2ISHZv2+FSA7+szHYkEcLRVMArIwq8fuYy4ZIrxPL9UEolFrCc1iHpqaJw6exKcRZXZKbk9zFS0LLP0rou1SDqHZO/kdHxIHHLocIq5yLbgOtXjtesjrB8lju1A/D82pgZ5Ml+j/+fUxZ6intIkIGalAeOELzCvA5cYZUnyCHhDHMV4XZOMD1dx9FW5VP+fwhUi5/NH5xpJQtrFVTf+YFeFfeFjUYtMb7/8rk7qSvlYTl5VHVxy0Riy0OkEUc1Zntzmh5b7jJZCJRC9ThJ/oUuTZVthoTwOBd1qRYBzusPt1lAvKKdS3vSRwk0YA0Vsq9svoB5PZ7w+SrtCi4reaOPnPXBo6rg9iFEksF437yt4JzcZTRWvpdlgYufRDICQ9Si+E3kGLPn5canNiupahzvhCeIuDQB1ODIeBwSh5VNUT2vtALv7pqO4D3C+3OErPK1bKNp7IpCA52LndBoFHPERoSKMA1+UatBb6dD3bqH/1jm9Qspva/OWSSLb8eannSsyCURnqAqiFq+fwP+neOevCGd3JOXM4FeFVFdufvPNmf2390AHSaEYYoTc3UZUjwvYmfkEGb3gmNAVt01/R/2tWvCl/hr0po3QEsrcSsuSbrAB4vFwLVMoAMX9LG91Lb1XMSxPPcBnh91riaZy0WcVajn+8wlxy2mqaUgL2wyg1njbhCxwFt7ZdybpnfrdjeQd8W6/NHVbtB8zMQs9hd7CGpXf6CFktVUHCBqmUP85w6nUijFbG5y0lf8ynSugYfy59bXS/m+Z9obOZDFgCc5y6VTuzKVv1I1ymyiymdVsCFbE8wTH5bPNWxLGMv1Z3uKYj2NGYadj9rNb8mwnf7YGaDpt4dRoMZCjYPpil2Ow8aVQFGVxYjoza+ZUOWAq7Sp1pCBh2zig8ZxLZTzEghfs3t/U4uDjKWwXVX6AptsGnSqmCPl/StVE7mQ9qDLf2vCNQWJF3wsSoXspa+EezUCrNekcgWew+m4VmFFt5MxW0vUZy7xUc1rgIzOu/V/OLYWQ/Nq2lxWGCfwAMInZl5ylq4OQM2FhrUO4Q4AEEcDZNDdWwXkeBbJIz+PwLNRWAcOi1I+v23t0liyLrrVn6PUtB0zvxv77Sz8/n6gnmTnAcRZF6CPXlyBFa6xFIkraZRQep2aL3ZIJfZ5fTS49D8upNcbNDhSb+3ylEoJWy8euy3sxVShmlN9+yVbp9iPMZs4f14GNtlTMxhbe7CaeF50EwZl+x4LtxiP5jRWIaGftj73XpDC677bRMAcPaP2arpbB6rMbBjDXE8QkhClrq0poRV9cFP1w1hlqVjG7475m/CWYzkN/c6mLWmzTi422T4o5hkXpHLIblF5zOEVgf6nUu4IKK+DfC9oK4RyT6sImdtiid3YhZAfxfDlDajzD8DegP1XE9KUsw8U2asdAc7GHgkdBCg6jGV5FMuaMO6OHjEJoATr6RjXJJeNqOHlT23B9ZJUGbORAFBwZo4g1TTeYjpNRYOQas7XIogoNqzsVts5r+/DfgTn9y8XJwSa04Ic/CrwhTtM3GitaJ/sdLt6MMYHm6k581TThre1T4cDpKd999D+k+3bz3aRqVhyAb9RdsL50S2Ruh584AcOz6xJ9xgq/NdxgJu6IrUZzzq52FaP5CVVLClvwV8uqA/rvmDGW4DiW7WBXRwJaB8aQzroqfBWfMqBJmN6wqYOowaGfiD4HYXwc/MkZ2D4hNm69qngnTag7i3TJLlLdKli9G18gVtGtNxYOhnY3uFJTo3PnREfCZ1HBcqz2Or5/MniU0T4FN9NBv1f7LC2RFEdbcvTOP/OB6kOBTGZFufZCHojluJs6HOC2mf/CeqAHhEA/f3TwKbEFVKSjcwuEDKaS83yMPa7xDniCwd5Gto0yQUwXDIFYMoRd4Vx+2vPjEyEeDhxTxoPC3vLNwyR0/9IiryaEmmmPgP7m0iUi4+ZOCf1rAtO8V980XergrBbuPeXh0wL1Go+FameX4p1l6XObAelLpFPZWpUp4o7fBVY1FLxbsh1DO9e71UR70TYLtEtmNF1C0uVgZivuKreJo++3Uj+P0kxmLXry1zAJWpzwJm4rXoVDAqWV89HafJ9fEW7rAAL8Qrfn79zu+hDSIAOyBfIBDUBAZplgyx/9DWyy+9feDbYiXISBGrN5sT2EZOj1wYtZEBpwkuR9D3LFCbKLnTINmquRTOmUCAS/cfv8Sk+2RF3YmQQpRJ3YWNM19pawXXyutQ35lfcbsnhfQh2gEX10OlVQ2aUnQVazKEYjeKLQpOyPTYw5UgRZGAv05k7av7HW5M61PaNXyH3bgOFZKEH9r5BR58F/zzeic2kDJceyfdBVt5Bvj/9GbP3uHmt9Qwu1ZNEfTEcRf15Gym5svDIurNraDT5essbJfeAs+Z18jl/Q3w76HT2WJ4jNfb31vsLN+fsuuNmg0CVob2urnrIWehpecjuTthGIn0Ou0cxDcDmpjrgVoZ4gzZi+ySkwhWlIJUKMwj3xLtNJwxcQ2I9y6F2q+BX74ZO3wPHO3t/Yewl1TNCFtsMwDq5+aBaqBNpG2im5HZFjaeMcacRsgaVkTKcmohbIAq1wglSK8Tges8aFfIhXss/V+2qX+rfKd/YwKIYUF3is3VzdRUmgMgjUzMxG0SuUaU9VnMUTy40oJIsMzLecD2Et0DyzTmaDGCalKloyn/Riyj9zI8nbeRQSFMOAOHsN5ItXjSBJ6OIssJUPkEcQgRP9S77m9CGYUmCw+s8mnM814013Fk2PRXhDGFgWvron2Enb9/Y52YXUjbwA0BGV+nENmAEWsuYLwpQ6rwWVC5eGClXR7P6ksIcbSQi3cq6qZn1uIMCgvrlQlpp/H/jmXV45COOm9OGwhnrsFDGU8a3wwDjxWREXCnTpDArarA+dbAHHdQlvR/DVHxcfGZjznTtCeZhhVzntS8fMRh+yHd+CpVXiEc4mMxDTWu9j3yrz36f5aA4R08NXJh0QOOTIMAjF7FNia5vVpxniYlaHWJzZnoKVNrL/IAWy75LxP1v7hDJP3ddbtQF1/4e38LX9EpygzFSGh9fw/toCkvYA1+B1+ZH1GWvx022GCjLqZjnwYVrP7FOxLOl+zssPyRt4z14Bu8OsL48MeoyvRClu1d/KxRdW5s/JbxoJNEzQxIrguZqrHLdKiCNx1YsEztW/8BCwbku6an1REvX4cUZKKWzqFvn4mTQAzDpyIVotnSDJn5uuUa6OWyzsZNbgb+ujBq07diwMHF/OP395vjcRjjlkBgVFXSGab8ZjSTyP1BdV0qYkshgoRAVIcKhGa9Yj0MgVEOIRw0cbMs+kD+RsfnFRd9tESSO4471nai2s8dlVavmkg8MASd/DJeeYd0qDX5h1DYldi3LZR/pdGl+KgfyYyGbNUxjbUPgwp6NTcdqVIxUI8iyD9O1q8i9WqSJHlh4hNn20a7JDlVyjd53s9Q2B0mbdIbe5+kC7QsBjqwNEFZDJ/k/zjBJYqLAZ4M1RchSTSzyfO2O7ujpgBADZzskT9wQWr6NYFGRcKI0/f11p/irJwHoZmuQuFR58semsgfQevrm8Jfxh/U5AflhXjhygv7mfR2m+UXaRuTANWr0Ags97k7R88U6PrDzZmtnUYPYpcfrp8HktY7NRH25xj3r2wadN8/xnVLyIwaDloXkKhxHZuuWYGi+BzmmAzazy9BTJurOy5sOZdOVfNxMwjFGh3mEG49yq0R4VarXibih9BVy7uXe4jl9Uh8/i4TLmKUeVVC0zm/Mx0XrCP2GMxFN18WuAUQYktw86+v4J+s2A68C81xqmBI10LooInD/K0g3tjP1Xqmr4RmRppnTWTY76u0RlW/J043WOds0Ud2R59CBQ39DKHZ/6g461GJ/H1TR/DFLmNOqdXTxaC+QmF3ma31N83tuNR7mRg9Km1KzvHtBtMP1F+S8kqomgmD7sTky8zXzr9yq5S7+LRrMnHtGeDnhV8gyRWswE1zCbK30b+JfdTwc8nSk1uN4BXG/Y4Bu3CitDe6JTKtn2f34wV8fZL7h2ZjbysduDNuWpTHgpDmRKenTkKI77e0+KJHIfWGOZAC9IospqUWne35Rg+g2wt77nO/tujsKXR2NFk7TnN4YVuSSThS+eTGbkue9ZmRO1v2gX1doV49OEipDClgWQtu/rkE4xUJtE8eoHNZelYfqr61rYYqqHSKPSzTNmyC29bnDSrRWuvKMfmS+uU6furJwz6kcjid0yj8K0UQvNYTBxZPfWaV1VoE8Myc4NorgCL+k3sWNO01UO+mLWQgODMhFepG1uyA4gWhkRD/O5kT9cjDinqLsAGaGc2qene2e6ceJ0Bos88FirnEAQqyilhfblWvxhRbhC3pw1qeZwtOd8rGG8C6JJIaWB1kmy/xLpvLAEqJCq6Nydhla7irjI011KOkCxIjMNvFejhCtN4fPa9odIPFyjbkSABwjdMTMCd6QsYzXfgsrLouutGe82dInDd50WUpBpq12uZnKjQqnrM/bKUHVTpwr1d8hvADEyfbyCbByGeU2retdDVw3qg9k9oDRFX6kxA0iO3N8X0PQzaX1LU4GyaHIAFAnyM83mQ2xp8zzZ+udmu8hN6s2VFzDPGrxOCnuwcGV9AhTD71hjemIUMrEYqAkfh/2EmLzcK7OzWVP+XTFN1wLHoXfmFHMHMpr5KNZw06YR+AfAsqHxU2fjDbdFCVC9n8pcrlDFC6MR5ozhCIkyrgZdpqSDO1O8sMbmvtLt+bMIMGDooaQ8HHFMFcE/ZFA6Mu/YTL9yITQb+bWXyhr4tsO0wRJRERUbXCxcYV4gv0KEkXnJ53Lob9ngvsQyMVJzDnJ8hncR94SmzgBYRq8MaDC7l+HDfbVGrfzMmwSnksv9xXtc3dZhpA0+Gn4QJ6YkVBN9wsRmC5KeTrKFZHcIjX/WYShLVrHxi/O7x7GTFV6OO6HLFKrZu1VqviWsMQELX622fokNhw3a8JHI/raM6zaro4/Iyj4k6/FbABp2gLATWQjo+2SDYhh0kmCzGfRo+/mCSuaRN2T8B5HE/CaIzdWp/8DEILz2lRHuXXiIMy5KXqY/FYPQogYTvPQ+VHl6uIFyWz3Z64sNsUaf2bGxjpb4pJB7a869g71igWlI05w/uUpWf8VSzw4mYwfA3fPbIBRfRljOXsl1JBcalH/tSdoFofIIzgSNe+XeI/yZhTmDPqsU7RHosmse8h0AaiBQ85tNG/wLGzuFsKDnmhGsuPI7KPST5UdTTDA9YTlkFSNhNo0Sgebn8P1uOBAAoVWgxGACuqFKjd1lVqdp+7E2VqO0JYECWWGuRsz0/p0dNnCZpv2CARZa90dPoKUecGG4rxZ222sz/zOEQPSIdrOhg9CBHyUz6csPgA9RAvMnJ86u3g4eABLUq50CbNgXB3v09mJyPJu9ebnMcxfOT8ClJTb3+RT4s47iZU87kiuftH62dhCq3YdlODMpzXgVK10YqrcjaZ1aGkjEHY8Ocl01Qa9kHm+mUK+cInIFD8qp3wtpjhnSYoExd7AA+HRz5R4MnRa/zkkWmSBebjUp5mi2upoRXyvU0mU0NccRCSjeGPQM0vk2dSfXC8KGgDS4oqbGoja/4uLiKtQOBlOjDEVnuiSo8l9mcPbf5dVHB8qbKN6ZQKGZHxwez82q+223onlmmplDBrRj+wEY5t2+bxSEl1UXWNPRxZAHwdNXojNcKmzewUYe2em97Ns06S6o+LZ4h/OVd29c6MgHz9uVdSlZ8SZxN5GR1LI1yfhfJmMlK0HwT23X9xJmyMqHWhBn+4NArAg3hhiv2i4xEdonWkhAYh4NUwc9mhDDxIPiYJMb6WG8X50g0gfCf/CyqOr6pjFL3FFI/Uz9EcKY1/xOL/Do7lNNZsXNfzWGSsFXda+ybzl41ttnyzYfau9paOUvmt5IVkOxd6y8hKMy+PcVqtX8tLxegSKM2QZwdGB7wckgsUwQLbyMiq7TmZGRHyDbi0XiE13yAjPSaRMVSCo6uIPr6pRdv9JIWYBjN8g/hblFqD7SbHr2Yvlz9FIn9uxRsJVRCwix9zzttlDbi5S+t4ETgLaajhaUCO4BNVLbOA2JL2LE1jOSJeNfJ43biGb/OFCaosLG/Sn/hEYxhZROzFfibQOQuU8KZbVRWlz9xaPPSO77jdUfD4G56VOb2Lm9jsTuyL7aRyY2VzGZfIxtXSlrmYEPwb3VAXQZulVgSX1uJff0ZgVG1vAP7hwrFLSLd7kCsbT1FkPHigKBJvPmxeEG+nOaFmulhYHnr5Jyivm/BS6eXyMBwE4fPeoK2L9Z74xVH1CGQcDIZjWHZJ+CIF9dhxy/DCGQPA+codE9qMuNhdW3xaXX70+0HyYkcU9qrv34dJ1QXC6TtfQrHNzIfoq+AP9sOj5Te3+DcQfNRufC4hLwogFQ0Xsx0TpOzisEQJLL5v4xnXfMpKJ3wCfFAwme9qlVsB22BosbEGp6neTKI5xnE59rgcjUNGeCbs44AJT6a2W+jxhPU4sULfExKqF5RMwbvw0GhEf/btLsC4TfUsn8e+koMPtH5Mkg4OpTVmdKi9zGNt8gd/Iy5pHDTSn9cGJ2IZW8e7eVQuS1QU4cA6azOBKVnk95E6+Kq+aCfuXnSKSYRqWtqWrQxttJo20VpeD4D6pHknMg4Jk5AbghBpddb6irioy0McX5ozxTeR5tO7ykIv9FlofRdzysN6yUAito3wKrxKWj4Fpob+EXNcRk1QjVU3MmvPiBiIY5+nNGFKL74Hsrnmfb3xAJLtB0x508FfzuU0pSI506idylMxuNCd2XjnQSiWD25nu+jrLbjR+bQN95FBRSUbLaxOVHAoY7MJLqVTBKqyyX2JgLv9fRwk69NtF1wpxmO7dgEF7dObo6sOtPLNYlnqUTM72Ek3sFNqG3R0JJwXt7u0xmJglhUIb5sk2Irmpi4RH3iZ268fw/LcuQ0hdje/6nASXN44BDLJ+NnekwMqeQQaoe1uI0uTCfI4vAQHIdvwci01kHJ67rwHX675tvGwZbfIduiSGAINezGgkFJvYzEyCbafycc+zSb2eClLA2nlTNvunUyiNCsaxkpn505UDXIV5C6MDSmApevxaJPnAatLPhjkVHr+djSi5hAcgFCEJAOcwCY/nggzZu58ovK3ykVylTZib2JDDR8SxDg+oUkAFo/xu6IoRjWghxRhUGx5wh/EVpaTY6LG92Cgu2C+H6FUJzQdIrkVFw2L5qsTzaQ3y6llkzUsLG2FvaoFRzbMLYp48aevD13BfAVTC08cN122Dty+SnV6xkLAoZu+n2+LgYWEvZF0XlxHNDfdg/fIQqGdfOH55KQKH6mBDx2n/N3YIMpSuPaZ4yWBgCifqAOcmR3wUJrnPB0FlRn+Im3v3V1wohvitWSO7SXWMfNx6RWSTj4fiMsL7MNhBpTM88bVnWPSMv2xu7NNkEBfpvZ9fHL6/t6BU7R/9b+tUV7XVrh/lNsmkpkjdFwFIVDBdaxOokyQ5+DQow8AHivPflHtbDYYE+eeX0lMnwuvRRTv+xzVR/h5BPa07LEnKVVXvlFIBhURRC7go32X7Fz7Or4g85R2LYiK0hQUNR4zAIi97WzJGqXu8ZgfcOOjsFNf4paBtiFM9+2d+Fxz2gSptNHxHr3GrkXwwzj7EUot43NPusp2CP1GXTDbvwNzLjVoYjAf2bm42M6H712NJOGx88y5ufJ17aPiQMCDC7tyttSqtdq1qYQgF1HbEZV9stqrWDMyyJn62mc9m4qSO7DMjGebwWQznJKiA26f4jU7oa1JrdlbdpC6xR3z3/01t724a9a0ClAdS3rFKRGSbv/qZlqFz6KiXaWIIuvfZFVwUIZDadpNHV9yIOGgpvyEz6m6wYhe6FVLsk+7bBE+U7UCHXmpKIJTHEzLoAlrmRvqzsmz5UiSNv/rXoofYRVsAS4SV9KHPrs+Snx9GTfbFLKIS0xrNRNt4tOAdcbJBAhQB0a/NLWdQ9fud0h8v98Shqnecptge414LEbCyhWs8r4EgAdavVr5XH8TZw3dOF+1px4PWtVHcuRbUwNUOx5zjAkaBeJGlBg2daNR/gZedD/olrme3lQ5DDUZPAw85GxJ4oyuYPgHCdevcIHRy5tQYhnZ3Jz8YJL0t5UrBhOOeGFj51ecZca7pOBiLLu5cjQULs1bfzpc9YJFf5aPY/Ys1XSczMhOxxIXQIWIWPFAUBp9dtLYZkLTrbRUqe2TaDdJXsMBeSsDH7CsDOF4Eqniofl8HmU+vNMom+9lDgCT8RaGhlxGefAzrgQ0thJbaUEyvMtMae2Yq+EHQmDfciszNUg/fDRBFDtCTkLIe0edeguigShKlzvvkczqGG+6vKbaxVKNeNh7B6bQAuMiqTe/p5r4Scpr0LGgt6Wz8SsjuQGbQV3/LiXXBi2QJL2OPW7UHky+pNROXeJvk1OrsB9y3hm8BYsb9zsgMy23fvqzRU5dwuW6kIJmpUk5/noOEROJYHtAWvlaRxsxwVH+GAoQD0WQNQEnnIUAIJG5ufo7aofrYeRTh8sG8zBz7AKM35Ojk7/trCDMuiuLjNI0PaHntPHeBRK3pp2wU2gDBRb33k1yHqXsrCnD47y51BgRYmfWvHBtXodDXo3j4SlvRdt8ufFmxZORnPFnJvG38/qp+TdWtbF/MR6cncnku1JwwnFCoDFEHDCfSX35S6mky9KcoENoPYThfHPOHrBD2tEgVRb7wiDdo3/BKlRNSS4mC1+YIX6HMrxmBFfxRJjEMNlDJoPR2zMQyzYUWnSpwxFytBLXh0knPKE8Bt1DU2E4cRob1a84270e0Wmle8NQ41sd7OQa/XcqS/x/lW6Cxpy2zuhEbUgkoMyaYANQ4b4YoqomHWrqNS+cwUI1dCC8fx84+p7+Ml44ULMSUhPlRclQ65JAJxZqKSFSNlYBVQIi/kTbFZMdbtSjGOhdAVVA9K090Vf1w3VPeEIbczqy8WeklLGYDWILTC6DyShWn9ZDKVBtWbovDEdOjnvTRIV0TXEzLUJeW1c+PwFcTcovJeOS+ekO8/vHkkq8YuV3v8GXQOkwGXVKbjZb8um74lbFEBtLJdKSNznhcUTLENXQfTVyZ/k8x9SmTRKaItFHP9IPMfr46n6aOpfUOHcwaNZD8qY9m9Prns5Sr6VQDHLq5nVzWHaFX8H7MScMUxm0Pw1k5VUWwtNpztYmMC3ep7yRWh6Dsfxy8aGmrOFs3Hf1rIuxjrnASj4XwFZm2XeMR+cIrNsljHFIZx+grcVfsU5BU+GUB3jf3OGSSes5fm071jHFOYTh6qmr3cWwzUYe43ve8DRSv38Xa1YaLwP6weu20HorkykTZT99QcgR5FufpBPzz1WvyzhXCcWX2x6/hp44GeLA0VWm515OzfdN+OWeopzkD6BAJevRSJ2xELEFtkRsWBHQ0gfnRI6TQUZxbigSzhca4h/xhClB/Et+DMwcziBRnY0lTeltgKaPl9++KSjcKzT/CW8Crk0AMBjbvg+Vg9cd58gkAiOv2f9BfseD7G4OYYP944CR1xB8ZFupLp42bR5CPH/dTTSt8IJqqofmqPb5lU+8YjcjNqcNl5ktHBZU4EOb4DJeaELxsNgcRFuFL036N4X27bCj7HxSmlIAKPD/3wzyOl3jCsVRI64O8+VUsfIIs7MUmmnhE8ZHaihzOCp4mF0xsw9Di5Dle//xHzHzdlmXdkWWP8rhFjLouevtuknKjC7G486xDuX2e3mCLw2muKlP7HB+2dRrZRX1+fmP86mwTNfUQ58Iw+g2xdFgmN8B36mtQ3u6jzVJVq8F+D90xk96CH0z7FT4faA2XAyFPUMI4XbOh6BpQgP3ygkioiuiULxCPqKros2W4vfdPiimQpgz6z9wX7+Tk5o4lWeMcKvbCVZ/9sdiaA/0ULyxtQI/6AtT5/n/FsTdw82z1dN4+kdLrFHQSspYdYC/ABJfqrK73Uh9MKQy4bLkayWKbCU6rY9G6RMk6+O+97d3/r9LeCveLxObx8TSho54rfhndcXDXLvmmrC1nlIca9AKcTOlIWEkwrDr9P5GwRHIZIrk5honNiaYvpkCIBpHoT5i181JxGrEPpu2RygOzBYy12fmtYiz99YWXz/R6N0r3OLxA14hoFAn0fjCozEcJhFHDqUZdng4id+Wx4GO+7Yi3lP4qYwVDH6m9nai9zTURGvkQUuF804e7g9Dvy8aUYMtSpRWxBbCyJKAGIxmAlCoNwOkY+8rPM0TELwE/0gCU205mxatIQKM+ItZjrdDLg0MVhrFxsddOQV5i219H7Hq/4ts+cNuwZ790HpEN0v1/hB38SQigsInul6f5nNX9rrT/2jUtaEMBWA9pb6BXhjsE70hyGzm4w31KVikHXv2c0SSRypQhogDc6J207gFfEiWlq+Egn1OWAaZ4/UT/MXhhAVY4frTF53iHbQQfkLX0NwYqTaxrheTnBlg5q6Hn2qegaDesjtKFHPrebZ166T3ViURAsYoo6+C4R3YDW6aWfiWjGRHIc3D/83oAOdith8YvrmAgAZAZIfp4U+GRmWH4nSYwllxSmq20AhwRUtmYKfLh7+sm3bBcSa38WtFDtd37Ce8cLPFXo8PL7qKjJZNGq+IiUog9QIhKtSnDtaKtlGiqsJ+qkFf+iQIdZvkDY7uyW/1EB6qoBE8nPyNW4Cau8unaPZKjyfxTNbNI+O9lg4NFtBQ5uIbu2hNmpZCBRdg9Rb1PkrtnHz3mu4UqCL7EwuT8MGe4taI3KaVggbuPMGz5kqFE9c9tYPaDHPzPzUmsmGkmkKhr8zMK5D0P35SjkrbqL5zBGJqp+2gJcVS768ukcIEjaOfZNGdoarnFUBVUpK8J4YEr0Dc6rBqPFA6qem0y4FIBRusXVPSaTF2h1bSZE1TGl8YqJBzXrnsiZSMiz6EpcGdFv+GQhhLVPL6sot9NyLEFtnh1ypKdAqQZpdJjh8qTb//1h8YA/HGlthZyJ65CXW94zUmz08lHZkckjQJpW2btzjVmR+i1Y3daM8lSFI9j0ekb83eXU3S8TqrO34p3ZZxA/UfbC5WTo8Vi+1B0DRX+QOymjsj6yVkdlGZNr6Uu9JukX/Owwrsoxb82U4kPw2I3ma3a0lv5/ClBXcWcO5qJ2eCe4iDlAaKC5vbsK2Z1ltFshnGSQtv/hVYkeguKXwduTvprxUS5OgKW7ueb8tI1PSpVfu0nQYYPiL5acnfkEu/M2jJm8rMLgsE3vxOMx6vZiltHbMZnUq8eluuLp0AEINwqLctQG1nsfNsWm3KwOnm6MJ3yKoDw0kWUnrmoL1OBTlueNi3DUl1eo6KtDxWkD+IVZEwl0zC8G50oNUBZ63+1tUQNLv6RXxKPBK3EpuEDL7XvzoUDT0SUqMsrL1Vn2od9q507Ha7EoGC5D4V3Zh1aGL3Q9/Kfp17c4M06KPktppRLmmvEiqwUG8fQEv1AQrgt5+oP33mQyUJT0TteTFeqNSeuGrBRbP6Qq7GLTXAeqdKvFtUt2OuIYEaMokh21oQjDMXMak4+1Jv8R4q1rcNkc5Y3aGZjR3Gl5GSwObT367Jm/8KIyGR1bOAY6msi2y3UUhrLzinRrOthcIy7qqONRyqRjCOS1vCUSK+i3DvsUn49/rYBqOtLXtxDrUOVpLDApKT76y5a70xoW0fJ+IvTCrNlVSGn6atnN938Up4m3nACHH9Taa0mqjfeVyFzvx8Dg4DBoJwbsZ0hZRfwwU9G2RSsV/pIWu5ev14TzzWeM3wNXn58WA/4Jcem3y0VgL95WgpbO9G7vSetA3awR/uyU/Sv52A0YE5BeWuB5WuXXbo9XRii1Gt3sGhYkfaJZpFeWXniDqDJXX2X3v4KbngLfnxtxlrbSXCoxK/RR9WI0TSrXz3BrpGQnT3dMa56LFSW+LCuWI6rlWgKl2LHu7MIadYlrucI6k8mD/pbnIzHR9AwoLdJDPiXWHhmobujWpTKzq5LanlzjG17e3/w+agWEDArJhK2Z3HXD3w97F0As7GJ2PsKupqTIw1BBEly8gSel9ACBjTKRQDeyD3GP+okemOQl5j0WtdK3NGULDJJLGT0GoV6NDb9NpQWKANe18hpDwSq/y7lCmXUb5/v5XwnhL4q+m5nl4vNpD00iGL9jlApdiFrWNoMntGtgz4u7bZzCGq4EjrnJ3O0XsTVAYjhIuEZfuoKJ5wnw6uZMQ6ELTpzR9dKISBrf0/WviwDls3oARsDkxQNxQOAwf2doShpsqH41a6WAE4CrentflxW/MJ2011pFpNo23dxSkkAGeSKnd8Hg+XUGlYK6fR4bVeExAsr1s6eZT6+4ykNeNwsracMF3s2hB9XGWESIrLrw7XS7FjD4pH5VDSLCw69NQTbdlvfsyueqY8AMPbosj2tPALjrGQRcwjH6u6W1bjOs8aMOgw2lqWWg5Wv1Rz2uoYZ9tXIJJ5pgluikr4otZ9nx6v0pIkSVOWL25wEaorBw6XFa5UyZWLSXFbf11ShbCaMKzeGJq5F72mUuXvQ1dA+r2/9ITHOuMhcWr19dzxt/tXc4sVeQPOeGvyAwK8yEnkSyFS4Kw8B68vBgXnOwtDoTNfskJ3tB9uQv7Swre5k7gnmC9JZoGy7+Qc7NoxBBwLJAQ342pCN9IJ40jDCoQHxQmUiqUQBizD+nPkZ77akRrTuyhrdkjGRZkNeY+wj348QOTBL7U/tcEsON1YYI8hhA1PZoJ6lmWqaENjtCtSd3GO49+7vmb+KYtH9675bkaTfGMPfLmDfzF248PLZI2wloIdhovJXxZF0dI4KQPl5IN7oDC/97e7TWw1aYs+XlW0QYrRHRESwkiZPN0Q7PL/HI0w+NOrDj/MSLgSQJ6SPq1Qgmx/+Jiwal/6b9460HlIcZINf0kSeAJvTvAh6IyjoNXv78eha+zq130peMVWmXtioAh8r9QX3kUrEbadMNNtyf3vRx54Zj3LoRTcYJPEb3AiW+57B+CfcQTpum7pi8ez2wJh3unJFyw36XmMYBgqM+icGE13e92Bg9CjSOp/rsDellk1eOQjl6oOJcdP/seBkuhEZbgkikkhFgd/KawbxYLauoMpTg3Iz7MFY4s9nKbwT7zHowaL5B2Z+Pkj6PtVjsjZqB/+Uy1PXyUn+CNMJ5qV/feq601Q/mMGX9vEyFhUYIk3p03g5hapmsVbvvzy25pOuoVsXlQIQUGmLIx2Z+TbcUJfit1d4akaMcbWKoWAotwtGkoMNJT1fKkLas+5A9JyTKGsAWgrSUD/36wgPGNF4/oIZiufOvvWU9idTjURZ+DEnm1SDs/k/xo9aTRF66t43biVEmOXyiCfi6KzBqyuw58XZm6VLDMtjFuPP51q+J9lvf4TzAcr+60yYiGu+nZl+zl8MJ6/2GVlb5xC7c4uUyczGBbQNcMJTdujCSU8U+62dlIcO4fTaHp1QSWOkQ8DqSJuholvLOJ+9ukFlEQUxByGz0AKKLXJ6l+9PrgfIh7iaZ7DZdW8swO8kPA6scUX+aO3ZDYSPidq94czIG8YChm67HorMBdVITL3szaZtkrIomWhYLgGdLdynydlmOBpPTXeJYjCji2r3sVPcPThsMqgV35C9uoC1P3F5mPybk85VztmE5SEEg4Ua30KBU8SFb7QJkMIHpfdYNTlgzJrXi4cF3OXVOTtPXSABixuR7DF7BPm9gBxKIZMipYjVztTO9ZJUfNwGV4B/9pFgNmxaX/aQcoCNmu5+AVmRz5j7z4w//IXyed/PaP6ZDik6vxcU1Ahwb+HCskiioanmyd0hmbtd9vTs7Mw4Kh65IrFYz+7T+SyqzZSVAaD+YX4y45bvW/9oLnVKGhLiQ3S5w5pxslk24Il9vsnBMqshPaBev8DVjzQYSpLTw/MSUXWvjayfRcMRhg06bf0Avig5HVaPP0BIUQ/bpmgYs5TRY7kDhxNZ1PIGftJ0BOeaV0ge5xLPWZhaDE1vuUEVp2dS2gFgNECQ2TMf9z/Oy4UglQtAC1TgC0r8Yct0dAb8b6C82AP8jHq3A2uBhHX9J4eeZDrHb63OraWtjHvAlq869Az5qcsY9P9x+hZ7zmbCpY5cXubpzbNng3Z/fqfuiq6+zSqdWfpKuuxPHfb2mtCP4lp5L7UfSGaruRkzpiqpLgcJbywA1L+xeKU5BHRFjrNbYcKOi0ABhz9miW0NS5pDC9BuPMBZJCgbqKy1j3mRITxo4VFpIRZFhK5cxoLENe1SQvlA9U3whcba923h4mKHOZCEnWXAdOE1V0DI5YQt89dCnpEbXvcs+8bQ5brQzVObchxMxiM90JA0SpkPNSzlJrtN7ljBxIqBLmrKNlbAn7IJGV8rNfLQ5xNS8wwUE2/Mg5of+VeOkYPeUePoVmDN3GpcFvxVuZEIoNI2Cqj9L/1XgwqSXlArMTS77Qyy6bXk4C9uFyLhy9siFFty7fmTpYxiWzsouuDI19bajdLqjjZQsAKrEq9mQnVf08B2ULzTz4FvVJGOxbiSJpTOVMguHA2zkZVdgvg0MMXENE8ZJ0VKKx2QuiDKH7Q90myXMtCZblOfcY/rI/zcDUHpYRDbD4ImWOr+h2yCB4zEq6yb+9R96JJ24V5AAZDbBhc5EuiW9QYnMuVZ0mFgIUxJURYvGDt2atQ6diwu3ZI0pzMf6FP46ojYNmh8mfHSa+IPIM+M9SFBcrxWXLElsfr6Zyi6zq3c9dFeYtzJgEfNLJk4rR0RJCC4inuivDKIR/bul8Oi28wlow7CoJyCUu0DgEEoXZaGfNXXqDocutdGlSQ/uAL39OFBYTBPjpSFZc1q3hRvMeKrkbwVLgBV2odYiXTwfp1pbgLQq97MS36fFHpoS0tTFHFO83JFfuqsxqxvHaksrJJ0/2lPfHzQiFyICJybFjG8Zp+XJG1rfrLlp55+m24pHrk5F12carpycxGWpVed0eqenqwMUCroitoYtnQAvz6sUh3XPkMHzH/3x+ZDVBTziuKOcFjSto7CNYbDydlBlmlda2j7+YF2fLSCB3FC7NQIjqHXmgBS58/LzpfdPwOTiJX03pjQxZ293wq+Q29zLI7HhRE+8b6irQ5v8DhH5+tdqhIPmAXWk3NtzIJvN1fO6aIVTR5MKBYLAUQW1tHmInGyzqZkpWoWUXk4o1Rkon6lJaCcUjumdWhYyk2AYMyWzSSjUcQ0GyOjz+RDWZNfGac5Szhd8uADnE3zFhsirEnRUmbk3fXRFsnNZDnlyFPc92T+a55smH3pod9mW15FU+TrAR47ZylZP0vuHobd04f1TgArbwmZw7luvp8G++tTlH6Za0VTi9SJz1DuaCPlhhQE9cIwqIz1MXoyiSnxrJmbAbD2dNUZ4J+WCrqIVu9N7egkV8pA1JC5+kDyUJDqzkl71XxA2rPT0+8yW5HOC+M8j3RSQ0N7bvbCLFBgh+8Zh2l4vY4pZNB7oK8DZcpbQxrmtEqv75oSEDi/K1yV1Vs4f4iiI9F+ZGnxjUiZOZuGa8PH8xi56asGBCDy6JpHjs45YfGTR9t5MEd49PosNlC2Xs1iObvvoqHlqEXv43P1kwOPWq1Kxp2s1V+mG0IR1AQFI3ZE4+FTQu4HQbknwbrMK8I9iCR9LnFCcU8HOMynY3DnIjv1qOplikauBWzURuI9zLBAlT7Sy7HSn/8gknvVYsldzj1TsiGLDVEGp/rahMwz59bCLSY91M+n+MSRTVruYmb/6AC1vzgZT5CUtKTmr8QctnpAbX/aZHBhN1YTvojFOv9AM/xkI7KFVIV9O+MCdUfgjwv3bjrnW9mKwtsW/owDl7VZqGfYdqJvgWb2Eoa4I89i8F5jFPJM6PeC2gxXBjIBGY61KfEZlc2PSqTSq72gDM3OuxW2h0hz5Cl3aTGgzVu2RfTYQ0pFJ+Le3HjKc6zcDZrYRd3NbCYs62/OBM50Ewx7iwWDWQRq6BHMlZcSz/tMa3AGAZNL+YgGcduPAF377BkvJ3yEcHU2sGf+17PqdYJl+EKjuY23Yk+56Y/RZbgxdgdQtgpp+rmaOuTn+37MGaxIiuoSpZywAc7xukaCkf4LHsCNNYs7IRn1lepKvTSJE4YT/ZVvbbMyMB+uCEHfDsxoooUgUBb6iSFkFk0SeEB3Dpm0HuGnqPG0tcQQat+qR0ZKltBA0hRJiJrgn2s5wbQHlJ/PX1p8BxTdfeT5To9RUXAPMUFAlLHaIyTXppGmTI0mAuw6wSW8ZtmgwwXvbEHDXghu1JUlaL/9ouK/jIoCY+2E7+hzkuN3HuYy7QLvAC5XzCmWtHMyelAL7IhsJEP4l0ZrNl55xFlAGRTMb7Dd2/jkbaPuc7pRoKIVSytoTekAVRh3YYMP2xpESA/QCLcaVYeSA/2ygtAMF0XvKpmoZJ9ZjloUzB4o7rHOFZSCOT9cEZ6dORHQ2+YXbhONNpV5ertEWhvegb1vwLcvL2riX9AnlUCNCjMN615N2t+cEc2Xr/h2Jt1oJzomiJTpJBLbn9qtA6FMCK3caGYckxStBX4CTDW7wxtiTtTtxxLfe35hqU8bHOcBn1GV7Y6RSLhdJRpB8493YWFebxbkkLLesyFslbTEXSi/61cxbnDYIdmZuODHUynobHWrT7weiszgUhFxv9SaE93c+460Sa7VpQ5OS3uKpL7ISXNakiAyj0GRiuHwMyyn1uN4EkviknvRz026qGwCT48tXe+wzwCVy7dbwYpmQRaAryW0A478ajDeU9LSlCEBwI5GK/LeW7FHSmpiUQDug97WHfjg3JWIq8lx22c75c9zSfdfuxh0uSS9y5VQfxzOuSQlhqWfYEjhcID1WYqTpPZNAnhPA1FPLk7utmH+hL6gIY67xgKXRvkPoApqBNaMVbFfAJy87WF5ngCxkxDJDs5ukUfweJydzWqz5Ot8v8hV7+hFC35gTBkEZXtBblAETyw4q58mUP71tSqITEdt5q6GtPW9TltKHBPeCMKkWmkgBs5tv9IEZ/ysgo6AdLgQk5oqw0iPqYdpNpibOytCkpLCCjIL3Tl1Y1N5EQ64LH7irlOQeNGiMJ8oQHwg6vI+RHztjyV7668ONbbe58zEw2Ot68JglMKN6CrtKZK2gU5qrqtH6pnqJMjYPNgC9N0V79gi/bjxyFwrsbdthjXzU2/cDQvPbHpYt4XUcPHtV9TH+6r+URiFQfqY2qScm4gXSardBvVUbC7SeaFNnHF3ikedRAGt0YeVUeuJJriowuBkT0wFI8d2FwX/QhptH1qjFpTbGSNAT5DABXcRGeHLIq/R8H7m8TV79BxC3Hbbk/YRQ6eTVzgkBUaGcWc6/CsJ4xh7BwG9k6uSF02jgUDJP9mYDbR7QdWpZmCg83PnG4atmWwbauLTp6XCREgcPgU2fPnss8jFUo0dTZdHjmJ58rWf0f2eHdrd0TWoIKH48BU2YZoY7fZCZlIRFqbm8sPVOxiA6tFFHArB3CCQR3+aotizsUWCxTJlhoPMLOdW8tClXQHCJxjfjTRRz4DLpG+1Nz2WubszhbNzt1W2dVewgDNNUy3HAUbFfrFYdU2Q8HdMK1CUuhxpFlM/lgCwp4jjUBd6Ix2SYrAxjVD34EF2cMEtAMw45DyQxQG1ZqTqJdPmSxaGF9L6aAVh8WGu4K5Q0orMx0e9g3L/SO/YTY6RUW2hbqT2OSKSYn5YSgmU3q0NZkuH9jb1D3/Qb08MJ9iUdZzqKFbOflrp2rJ1dIgz5Xf+uY8h6uKP0cji18BtoKvT2KJ2W3TbSaPClbgbU2TmdwTfvTJBZ9Z/E7HrGEcy4uH+jgozv77xplw9nXeI++Mp/DojyVKwEctfJlp0bb7NQOydV+C9EXkMdx7jCknrVUNzIWNjRs2fVkdFzumvl5xXqdhyN7EHNbxIgaArNKcTg77kATrOeT+Zpl4F5PQvMavayoCsg4ZBmJFeL2N6ZkYpz8vzKgv4Tw/fO1n30EouNh9dYhRE2EQrUo9NhgYXJgvfRUvWg8njphfHMcOEsiU2x9NvyuQlKFEGXgXlF7d5koTxLpDIZdxORbXzfPl8+T2sjnN8SpDDkPjKLYJYBjSeEfIIfQbqkWIj0DD4CbDrOm4DzKRHKMrZVm5z/CanS0fJ6xDjrkE0JyIUbRdooLkbQTtAAzykXMWWTRmMLmFMYc3WNomWZao9p4wMXJIxpV/a4Y8HDvFAIUrN0X8SGqEJBsKYA5qdDmKoe4zRKGUy2QpsDFyjSrF7IHwhr3Km9XNwkDOMtF+yaDq+/9Nrxc74g1zvJWh/4kVEJPH+0n2daI/No1CYmuiJ5oQQM/1VA5qvVv/CjpKAC5NwfUQVpN93tjTLyO47Q1pxFs1I4nn5KHpYuC4RTRrT3HTVVJ10nC4JBbyi2JbOvWG889ATTdJRGe5DkjgguYTogRuIg99F281zEIBJ0WmTMbw2KbTI6oXkvh83hF07iQ8KveLax0KKvA0E6ww8Be6O1h6bQLk6MfqU3C+ksHFdv+pal70WmCS4sI7qSe2vGHzv7lVrYRkU2yKsLwtXAyCEzKdB0e7N+OwRBKAhZb27q4UbBUhf79FA0b4morpEOkXeNkv+Yi9Zl5GkbM8y27DCQ7AE99A13WNu4/+UO2eknEAJpJ+sfpkq3l4qljpzlH8gcBz8Rf9Cd+Y3B9+HJjWuDxcbsgEPpOK48SX8M9bVDJvv410BjxAp1eTW4Y08HEKP9QQAjqSavvM+xLwVUDn/CMqVus+JyBuisU6pdckyqZoqPYfMAb/9TsXqu3sT7aMwG8NLi540h5l60boRte/gd7gbB7bm4aWDKhLNjbaJC+Nyxk72YJIajzyV88zh5Gq18q8UaHnK5rbvxYRlUNUvsHN/pBg9nIW8WpfL6UqFobLsY20csG7b34wyIzFSePSFV8ybtUK/NR40j9/rpIQi2fkMFk12hJ7myWLg6HgT8oN85yP0Fip7/Qpp7XV4r6hYIGnhRmKJb/DI73NhLwBYzUlJsDX+dFd2fY1bpI/+aL41Mv53Fls5Fn8pX0bmcsuAslVtOpZOAUtPjk58oaFylokLqWWyzi/egdpNqnNWF89YMlMBrVONBuTfh/JfrAgNXcoR5re6dVUdM6Aov7WvUMgLANjz4gHZuYkM5FC5D8gl+AMHNzJT7WWTYXhmyZ5LqoJrzT5Hss/dqWyHOVjnEfHsXTQIKAB/eJUaEZrHgHkBANbIDMCoohBTKF3pb+K2Vhg4niY/bdoCY1KvKt8rfzDEZz1JyYHayC3kzUXdqB6lBy4EotOHRryaZtTK+qtyXdaHUqiHNhqdtRlr3xXYoN23X/zngB1EX55OJF0AEywQAd3jTCiUMr9bd0ePs7LGdPrZii1X8+l2DnhgRxB/W/UwlfhTU9Q8gsLoRcpPdSvlG/eMV1yJRnL3OiBhCSbxqjmEc5qqS7rLDbeWBFQFM0hRbR1nZxXSew+MvWYs/K3x1Bk6D8haMn/6fAjbFUp1YGG3PmarWwINdOo1C6SlOje9LsTKoWcmAUe9JTeenI7wWI37QbGhlBE3k2E8ruFo/C3Q63ivQ7Dss/WuHTn759SXL0GYy/YtVmLtRNO1XGQZmsreBHdIMjCtRBlJo53bWLryMhzo2oXDq4qN11ucg28qPICUSvWjU9+suQDu2ATPewFbX3PqGvxP69nZWZRfa9DABvnmd0RUhYE2ghBp1MoWsJq5+uDPSRBseT3q+fg24DrgaGCF5yvzJd3JCY6SUXF+VmrJ9y4WpsOxLlVqjeVa+lH5yMmS95zbba3lDBPBc717IU2qeOFAEziXE1wLhg+hLL3jeShF3qbXX6C7PKhXKpuf2hDcOdsaDTIWO8mMEoF6kNpy9A94jDrILwqcyV+KPy7e21wwoeWJDJApCXpKCaarSKn5up5JcuYJQ1Yq+8Ipb9whQOB3K3FjruBsemsaHfzLuE7wY4ayM7hXP8ePpItWqcll+hOuGikeT4BGIA0oXr+XmFSxXxibiZLcAENAmNqXUSwKOTlAQyOgZAbYiKZwv0nBvrbgDTqIz/rinwMtALh2R+1XB0180OxgocfmIcwEPW99Kt76ddhCn+qlO+UgqakD8TmQtQi2CxbMJrI1orMECnFMz1yueLENWYKH48+fgr+dYM7yr3UNuJct8avs0Gfto/GQCvt4kaTsE0XfrekwtOWfueuM0E2rKLim0s+tChyQ7QVTIb0B4u/BuBp+bPgeu2Tr52hYoGmyxE99eWrFmbQ0GpNUolcuCZDviZz1GBpTlBz43d7JNvM1LrSFfX++aoOlYsqFsOUJu8DRZNiN57yQ4X2CghLASZ4+4BHbAfOMWqATS6KzuRJReoawchbKkdPQ8Q8TyeXo7hKuTyAXS6cuDQDtqqTL7IKIt3ZGPdrtdV1680vo3gnW+qP0p16zHgzns07shMpUAYsxjb852pIROPrf4FaEyt+umQlf6ACgoHw94XT013k6AKtR+GgCKoXNUlFudrsgjtPLypFKUfY8AqOAb7PcAK1TybNYOEOU43avE1h/rqhcHPOfHECDY8wibsu8k9djhU5NxdzWdqL78XB/4aLjGHZqXNZH0c4cWx27FZfPtDPSIj9RNM+f/LxdQIi8W4YT44DhtxTjJzUigKdJrIvSFvLc9Hk+OXfljJvAl5Esf0r8Ajw2mrFE5Pis4dZnewGXYs0/OFXyixq7Qclc1A9eX+7cI5cngeUgYR50hm99PPinYqUm11B12n1ew1CH+5IonTgIHVh4OjVEygIkz5+TlA3iCEzjWSwQN850iq6XWpEE4KX75UELJrcULE+mdiKz6oMxkTERYBv+W4OcIA3hci4gLCgZ4z4aL9JVfPX4HKomvF1s8TSX8+Av2e6q83zimCUVxfsVXuJPXdxfrr4nD/7U9n2IZqWCm/l8McXAakyIVwwbVGs7KtPPGapJhfSDIxmits4+S29DKRudLELKHIHsNA0xv8JAiGXYuxh5L/YJTgnlWx49dorIt/cGYlufOIiQNE/tvRKlG6kNUPbe7HQiY2yjKtEJPDz0DuJnsDGDF+6H2pfyzkh+VV0KbLf4fkZQ7ix5Pkqy3DPnpzenA5IwfuYPcrZctgx+6RG4peTgD+7sRfTVGfvJTOk1HDfh7uPf7kmXE2HCtj9MSCFXtmc2dWZKJULqJg0Gb8JsHiMs4xUqVs4RfX00MN+QQKqUmzI53m7zgrwFXWglHPQC6mdzaY4jK7q2SrCctLBSynwqEyGqnjbEaNWEsDTBIxObn7zpZpyw++5Y3+lDc5fA6Y6UjMY6lEtLE/Kohhy/MuA+IDklFVVNAcIJdMlA8fpiy9NNRPEJg2JagQ7Z/FsB8KxOJ4sIgRQitv6r3WMgM62/f/ajUnM/X3SlPbD1z5ND6BSjQM33F7Q8giOwWI6/AtCbjJHitW6wr2Bu11Jo23EVDTGhapfAokJQAZe+1N53m4mOv1xOH99efPUqQJxGEbiwz7Zp2dvj2fZ95N/v7W4fN8m5MOG88P6lpFcp3MXBecBOfned54kCGX9tLE+c6qs8R3VCxmCpWyhHVvfZYsOl/35FCcHkXyTStNvtHs1NPQetATuO3rcsy7HCOE5yyqt3sJwy1HVdRSgbmE2jiPDZxpcZ1cgojvXmN+VhRibBzAzkiGLFMOZHr6T0fMBhOwO3NGMzBSQ47C37Z1J/8YkmwhS8RVnSO0pAQZhmdQEcOig0ZZDyUeHkE58AfWESjGvqIDTVYIRQBfSg8C0AnFTcOZWQK3uGuwiYsPd3752kz1B4nONZA5P2cOAarckbNRKza+fQlzQ8sAhYhgNRmK95K/uHzNa9gKQ7wrGjhoTHJLB0N+hXpr2W+7knyCK5cQ/VDogga+SgDE/mXIGMYm63uj1gQF6sqJxIALbIHuSOY+/1BDnT+YGBcjlZAXwisgjsLaelLVk+apu2xcWJmkBNTBKYQSwi9y2Xd8FhdkMUW7mJZwznX35JjbXbApl0qDLS/5PMWtj/v1KJQ/au8CIJfY52MV+OjOJ7HOst4sIQCV9sDhzzyLamuBGta68AOPjt5Z+uA/O7M/60AHcFQhc1ymUxmv8QiTIDi0FJwd2kUWeBw3OUxeX/IH6tLeocjegpuufnrHzxwZjtg9bGNM1iqHIQSWuv3M5+nmNWUN6Ao+QezgiC3W2anhY6P69OHv48MHSqBrvm1tVaneupyOgp5w3QiQT++GU2kf6DOrHKM0xwITDCOyrqTVurHTUa9ky3k6MvbOMlhs9qThftxYrPeY8UocHnnd95iZxj7c5gHU5ziQ3WI2gmDnEGHQYIGXGXfPpie6FNczrY7+a75T7reznMWIWF/6st0x3HgLrzUM7AJ6toJOOYnCutuE+qi3zYuWxv+J8bB1adi/Ibm1ipHUDYrZg/3iOV+TPBNkEIaIovh/gThv9PFU7seGWIVAFI2UJEWaKerm5ri6FRMH5/mnnG+xEWXOS/Td2QF6P+78Lhu8q7JcXQydieO0FQxyMG/lvEGs23HA0QAj+mYM7fdnS4hnkHiQ4fSKFIiSuPQooXE9hc/Z+V2vyNldmPQUjOv94g5ArKObv5v4VQFaO2pfI9S0sJFj2Tqie/iwHSuAAWJBapat18RUA/8EJ7B2wwHXTu8lHJXshuYDcEWMgqRII2Lbxa0KT8eZg8H4cFOiRr3TpPXeTQB/i5Pv18nOsrf5Nlhbt2xOCGuy2mIMRS8IYl1ORwfCJeEj7IFiKH+GmmGO5OhV5bT3ty07Vbie1zQ1YqbF9XB1EN4IG9Rc1U4ON2ewYIwdmA6KdCwmpomzHHFt8Wf8bky6wZn7ODNC8Dj9yyuwJ9b7IpUMb9D7dYeaHGD0GH4vLrezQ22YLfyO7dk9+6/s+G/KXXWDi78QJ/PH8PbRzS2mCoNTBiuzTGBy8uBjwJWr4I9qmtg7OHIJUGP1Dnu41L5pMlvZwkNALOH24xTMUPNMrXTT1NmsFy4FnnkwyT6K/vgriD298ikhwAX2QI6L/hCJM32lORETIfemzGZH2IjWZaLePe2u7MMY+5ozyGYrlKo2HRLtcB4ublb9dc2DAnJUgCbRotvQuYVUYTSgkR0p7aqKc71cEjYSjrgmAmL3l3b+bUah39+64HxFJjzc6y9CG+BaTPK+87f5bw6n0g21FEd1lZOxhTLovhdFV8KmVbUPTIWlU1S+WzZUtQHVXQL7tKfZBAfUVmEV4vhRCwIV/Cdb0y3XKIH7lgtZ3TnOXyik5rYGjP0ONMDarCutyFlBb3GMAmZO3dXXVMoeZMaz/TVmsrvSiAUb14LUdn84uLPsW2o3XKPTt0WGewL3axPaf1rIRME7YtGFulcvwHaWqG1cV1E0SQG/858RQJCIk0riiaE8oyOZvW32HXHZoHNZc4CRKvv2Al7ZMHgv+HUkxByR4LRBMu1Y32oigumSZZZ/3PsezHf/e2jiyruIQ8TUY4eNVMh38PtLwaqMVF/VtWfrl7NxL8PLLVEReMt+JP52hYTysKtQVH2QxqX80l6/wq3M2WhvR8Y6gD0Hp2uEMkZ5eQPCCNzUVYvr6/TNbRl7S1sVebh/83DasEcRAI5vvHAZutJb3VBX31wyJ5rlbXRpjAP/IgYq0+jbNR9Z9OPJWRjQbC7kPQYMPuMz87KK6sxVeUhN6YlJjeNjwsCpL2J5/VyqXcaaRMK+7/zUlNeMmdrUniDtb2DVMsvG9+ojG+/BCUjFbHQziH9HvaNZyp/3dqciecVQOPiidO9gem5CsV+BIox5rV8cjDIrUjfN3UeLaKVWIK+F3lEe1BBEM9hB5nZe1C2d/clpSd2iwwIcnm9EFhiOXYDGXWj2z8930m9MjNBFBGtWzDRBq2XIGi8HJdDFhlSje3dZ4EXV9NYhdUrffXO1OHgutwyVRGS6WkFkHoO2y5AyLrD4VcWm+hWpLrPy25vO7gnAR6X9kBZaN4gFaqab4lLSwRiVipHtZItQzG368usNA2AO04ENd1IgPNKJeHsuLV+ZcooZo9Zq9rbt8qyPtcYIcZHPhvrfM8a+Rsd7sObWZT/lKvT2MsmfSTsEw97Vr0tcibS5/0/6bzxxocnfjLpck8EUwcOopwBO1+eDeODvcICSNLlyUksPPkPnxHq/VUaEjEo8w3zJTzqwYhcCmgU7qEEAEJ8TP52cmWTjawP0oCgCofG7BZbk5uejFwPHjx94r4rtpyDCGjdm5My5QrhJVmcoPsykG1wTM8EWq8EavmmjH+LHaye74m/Izn4d0X9G3InMo2Ao44Hl6+pbQY8tfT9+Hq1L+TOUgBedj2GDiH7KNPmf/XAXyD77cNuc4mGCrFvYmpPeXAiD0JAU6tLLF3DW6jLbb7VZzdA/5oX26MYDCoxjFczTEuZmiRTP2pounHdCl1zqwoCaxeUn29FsrIBKmDpWvT/uVCrj7r9icucXTGNRKNYjowsdsWWBlD21pRtrHovK69rGK7D3RE8cHfBVqTCzV56sM5Uj7AWnPsFbajJQ2wsQanesg/vVki7QBljQalAxAMMr25tH4GrIkGvZcrhQB/Jhsa4bLCOLr+D+jPMBhX+QL6ZPI91t5QJYQIe4puwzACDV/fWoHIQ35D/RbDkEQrGsXz3Co6Qttou/Ae/v3zaKYmVG4GaEMONkFRx0wETsp1iUW1ZuuxHZF6NsXr8r7BwrJ5mmFw1RTmaVeoLCL3U5S1slv8uVHVl0h87+XQplsjzVEyJyTrtl6WqdRa7RsMrEGWr2QFJGOU+lwTA+7lh3HNk8Bbkt3d/26BhscWaSAbHBbMnQnhSDqulz2SdQiBDqBFNdaGrKb5ps6/MLWo3nisqXn9GZ4BAs1MKIQmyG98UaujOWOxOQM7QyYLjodhwWNz12V/GHrLE4hXT5RV8K8+okF5b2Y9KZgdvhXkDVui0RtGVcTSP4982Pl7YiBTr2nD8Ky6FxpSskuJvED8u4iUjy74WlCn0uV7zMTM0fUgJ2BPXP59x9i1NQpSdCxMNCWpwAHdTFRxO5ZLlYNq31TJ8JX+eIC7KZ68ZA6uUe0rLsv/pA8WJ9mQmZALn4UgBprd835oanRtgQZ1ztjeOnYEw8xCy16errdDUQf87lE/AN9rVPYiukJfqWR59zcogjtPLT6LUWxjw5y5gWHxIjztuOo0T4rpvzSBhuSeUhAAV6mPuS7sqtFo4OBF/Kya2CHJJsdWR/wN8o2M3uHhq9gAYVQ56rokYtDHFV5wbO9I19ednl8S8+7TAyFtM7cCJ75hGocxtA45yu3XOWQsGobNyR09aeQtRGZQMwds8aiBGbZ9jDSXvvvctFnc6Byzu/qrnohZziI/8I9gN3mvVeMYH6ne9DGhVL9dP3Hi2z2yNJveWH9nVheGU6Xvqjw29Bkn2KhkzCYuC2xD3SGu6G7SVrW3SN8bqbO+v/60NfQkY8ADLieJQohUjIML7pxtpKbTq6Gv9bAc892gpQVdnG00JuyFEkzLNEWA/sMQjr3Vc7dcIh/eiqIOib2L38AhvXdFv7uc4+7SetSUjYqxgmCfCjkKVFsA/2Is//V+nKf9yrPh4hTGUzA0CLoQI7y7bNhVivyOI0oGTnxar5gsXYrQ9Y4QQKoARJs7dJ7keTf+u5BSxoa+RJXhLKNyJjB2YJ9VVzRjRkEmnEtt6wMLeZ3LADQi4Sn9/phtn/9JC6GCDlkPDDD5ukuBQ891XjkfhSAAZBwUKM/C1p46qLeTAI8gwiUX8nIHC47tUmQx/TEIUXhFGhc79b8Uh9Jbc+US8BxkBR4k3isaxh3tAOykJKjAOCxJsWVETVbAmYXKm4nRPtby/TVix6mEwz5B4IeqqjgFAbVKaku2oMYKA7T6Z40MNjVnt6/7heXvM01VuF2qKYXcgA9Fas7XLOHYu4tNYVmxqzieG8uvRUL+Qgug4N2fw5K6r7sAnFSsVLBJ1AQsibmTY+yBcnYqYXUtZ9MIHfhvSDZ7KYOG7K8OPvD6ESUK/mzlZChmjhhlYi3xapV6pcJ5E3KZ2uznvKCJXArTwmSiXc+GnjE1dctrhruyXbeifAZI+ussr2RJ8WrtqXRu5zUgwAqmAf3/yJbRXRQPaNHJwkdA9CPlU4Vw7dcv92MiYPsP/4J2/tNGMJ46ON3kXrDl+U/Dvq311P3vNsKdxPZ0QcPeh51VAgF5TQ5ZZz6MHs8G3N2506qScsRllqEQ6JSuPlqM4mWn8/qGDBl9HDAr7t2FSARby4vwVDnOg6TjRoHt1Qi4OnGDtwWdAxk8txKsLIOmCMVTcebtwWccNeQCGUucIhvECWmmyVYFTE/xaX9+npUx+dzYpg8t413CLkPePja18+oP3l1B9VeZVadMRg0rMycJC8vK0x77vAkvzerZv+C7lMP1xTsks179EDB26gRMrLnlh2ctZgepI0aSABd+S2F+E0vRRhGsxPrhQDeApDelGU0FXristmlyqWRGrdciqITgL1VDI1Gmc+32qwDhnIeEJXkJz3K/+nxyXbHYcM1cd1pun6Gk5JqdzGLnvC3690EeSxYp9NT/2FauMxPiuo5QZiT8nfWvtDx3n0l+I3KBxt9yW8bcdoSUfJtfEvBy8PR4QQbxLVo0aT/YpR3Kkg5Kc+DTrnTYhK1pizoRCCp8pnWTbyRURpIU7Dh0c6HqBeua1mgT8KFgufXacB1UT1uu6TC0a5QRUHXKQ5unCMwFqZiUjZU7UHKv/j0ly4QYT/VGTgDfXqIJB/Va4zHdPDohMraKCwQxAkjW6D5juNY8Prp4nxFKnntKLUY7Z8erzDZd2nquYMdeP33WY9dOmHXT2/rVQkAgnFY7UVA23Bt5a/2fhW/2tFGmt/X7YuihYgsQIoVN6307zLnQb5LlMIHLmHf4AAx/OSSl0aFdgPimzSUQD8swUZTeLPnwCDf13yo7d5m6QgDjgvyZ9oF5M4oelL/sdRjVuWLjVFOMTI2cPt7nPAHcMsvrbmJan2qizwMVM3E6yxj73Ok/A9gtUJGuShVQrjYwvshXDBZzYjBdafIoDEI/DGWxmRtBSzGHHQtM/WCOt21BAtYSPvP6vfYuuBJG+ESxb5IAa1RFK0Y0zA85jtNzs3K/1x9nhlD1FF1C380f2b59PcT0nnlnhvRI1BcAArGLSVftsrnk45nshG9TK18c4o4Lvq23URyb5/oA7etLT9uX2Epnv8fehwoYwVDPD40tqHiwaSkOlNRTfmHGx4SlV1XKFO6em0TJhEtp3+1mDdX3ynmePfZe2mND1ZXpEitNCZiLm7cF2NkoEg8IrVaIKO6DU0sGB+YNChu6jZ1mQXT5vL0ZbQGTmMRSeF39U69nLgp59hhC5HW98ogD2xbnj0QsKEI81xAVvN+Fg1WBKryi2ERE8xY7YsYvFGI8NmcgDRhWYzM2MWGQN1DE5NOKYemueLchZ/I8Z7rERMVRGODnzXM43iaQA+txvYghZIQ32iW6Jzq0FKGjcndYvjwaXnpt+4LP7LJ2OShKEhcKhw0uwsaoR8eLiaS27GwebfkH9m/AImKENnRym4xxSr4ERKZZ/kiRWKNRzs1+KFYKUimDzPx2Jd6hnPpweBGWqeY0voegCFbRI9tdn+2sNqSaYXMW0V6s7+uxrcVp3HBYPI/x8XBFKLyDVRZp6bMnWh1adHbW72IG6SwqQ081GaWPFcFvzmwBMzBtvCi7st4zEMvtE+64B3mCZxIX37ChkWqw1wWlTE2Oea4WMlxfgD7gNgq9lgRx9SJXQL2wDnlFdfNuaO+7Q0WqwotZW7YsmjOaQ6iIANj8N/r3DeByv6ipvvzintY2JHCF4uOrUM88Jzf9ZlkB4bfereJYGGI1XkQVdf1A8qgotlvg3DpyhHM3crtgrXsQBOUhniJeYVyLsLMU/UqfdAFcWRnutz/4FgB1eConR9zdjtPqVd+KEynhGug07GDE9kqmopOv8fE76SWvgv68pyAxs5fzBP7PDETgTE387Nc6edgC6mndkyDJBep5yc5OrctbFAVZEEk1YjlmiNxTDRjTq09fCfCJC3yN3paSS+GCAsPkwinT3daGGccSaER6zL+KYHUItZa9rJtp0cZ8+We14Oy6yrZhOXKIYyRPxbc86qJKAtrk6IbAneZEtYCQ9xq7Z2ExWvFgn5E5eko9M/1S/8Xq2N7Hng8FVCVd01RhBCP+Kysd8r9dw+IDPMDMYyRxhxfgK0EFwaubYv1k+q+4fzen6hR3ZupgPZXIb35LHMOQH1KZ4qtShmWa4OaBbaf+77NokbBvilFBIG8E0aBiMFwRUi7SXgBGCQF2hll2Ewvb0/fjbndFEAkQ9UKim9F430luth5zgZ11wKoIs3Hv12tdGWaeFc8uQI8PtJ1ByW91o2YpeJlRLTKskyg4IMkY5YTATgJcXPK2wPMbbP7o1WB2R6Gwx4rBCFuwEZOa+fl9WljJcQNRM6Z61GcX7v0msKbMJ3Fi0pINajJCc6BEM6wGR73sHb6Jo62JV6+s+VFhYhr1nVGqrzGzbgasgUJRGLwNg9wr3L9PCk9cUSRtc0C+WLgVj+X/aB7kaZ6uMVayQBzDHm9FDqn0lNNxGzaQDUtPvgA6mq3uLLL1HG5wRMYN0l4faYhUZEc01Bl296qAizg8CdHJm2+YAPC0a3j4EwKIJYSh9givw8PHrHDxyhBxAt4aWx0L/Rd5NORZFjqLCTwzkEW5jHwHuz8aV582LZaGIBvO+9Gp6A0vay3BtOoTNFAlv+NqWq5C3fIThYTEq5SXabuSknMfUQe+ksnybCt3YcCKO9UrNAyLYpOQ+8wmjjKYtK/uKjLTh+LCzx13ryeWVaY1KwzGqYWq9SD1zy8F2EZfkMIJcJuGB0kP84rRxGpy96IJ6pzKE1xpfZu76UM46Vx0yaI6+wWBTrDfmdRP4WYhW35msxEeCi23+bzCGU+aZmOWlKC4y8p/yr5Cg2Fvw05KztE1OmhMwgvWU4+Ns8fMcarP+Ayo7YuWfHTGb7REVWCzSj+ISl+mtKe+L3ZJ0a4bPaD28gI0Ndl8xLtPGAGQskTYCBd18EpShL7GsEoE5nnTtPfrGgw/rpEPX1KCGE2tX8YRIzXCMGfSwrA7LcxRFOHp1qOKLk9rLnEBP97C/n6YUXE2QRA9UBhb5SQGVRW8fbhmIzTfsxhTP00LIXDaPtXKGt/IabN3xWibg3STr25YDBVEy1+ynyC7Tr0GILNYbfWtuNpjPfqOMEQ75WoEjB7Z6B23lRrsg25db7ProX3RFB3ezKxFh16KKcxRHC4Ky5HR2LEWjHU9EfGUYQTUH2Flsv1i/MEQKwlCYHNCoYC7w348Nih6xa78B9Ki/58ySETdHP4CNTavO+O5kgWGQJi5RIR9HMMnLPjrCz2VvXkHEnPU7tJ/eJgDOypV6YnBa6wFtAniCM+6mHphBdStRS0Y98NfjAjgdh7e6/ky/+EisTWdTZN2RScCO0CyDitLLOIYGpELNFfYK9Xp3GYbRcIM9nWt9UC3IuengGMBZde0GosVrGTxiAMfpCOVI3xC86PApRIOvtSE7722Tl5dw32nw6ceP9UekCAxYE9EX7Bls3QH+O55oqxiDOPhLZriMCjVfOnLw+Hk7A9XwxK1IJKdWw/+bSN2qIibWdOsA1g11cfGFdTQGeyo/Bnfa5wOn1SUsxN2tM4kYntvbZ1fI1JzEq9ZXX3sWat0UMsTDIXoPNpkB5zV63fOwgn1mVACYsISCToMkuujsOdYrPEM3JljJyYzWtATbNdW0vXQwq9x5Dufqi5Um/KN1ZqR+MwIcYMdUYfTBc2RavVpYy4DjTmh4Gl8sK44QPhiGoREccxyhTUKXmtjnVpzW8tYeqqDgubyGWCpo46wyklX/5ecy03iJNcwK5mxXClRqTZ/Yum1ic97gx4lVEff7ma7ycNeFiKw9rLdfBD+3+6+2tI3lrlDhuRZFGHly9T/3+4imwBDDbEEVBB5K8gD+lPflKqAD2y/daPZ4mvnw9yqecg0yjlypobeIrYexVk0JDh+oP4LUwNBijOx4kpMlbPzASeExC8lavfHgfiQNNR4yHxcLgNB3hqlidPvBBltdjgATOXe08UjxQ7Xy/7K2Dt6Lum1WJKmGusVWo7FsKTNMj9CUwZ3o5SFPpkL/6ZwloApoOfo3FKIZqrY2ujnZBly5QgtEsA0wCe81vywyTng46pfZ4I2Zdmb2ep9cpLTbBM9Uvo4XOSMGYboSBJKs85+RglBx6DUFgEWtEY+h4zihXdVw0ymLaVKkUo1mYW7cHHr9M032m+f8HXi9SYNKl/R3+4MGCcbE/FTPlc+190hEpYA2gjr5mBg1lZ9f89VVCleOAKslKvYHKvAjRlkQYcyHYXRuL6zYWwM5bNY+eFFMAyw0iZDAH2NTmjExzlhC/jpk+xTo6AU2095y3nnBUaeRiYj+t4lokbHZPovBASuQaKVMm27RF+saaJUo2iYkPIvQ3km73UOupZk71s1lqp6mOtPepWOEsIuvpCW379ssy0lOoy3FP5m7hV0Make7sfXiNipBdPAi/yQq6ZGrz3IqsmzN02t9kWKZjI+Kh7nIFNjYLQN7/M//mYI8Uxbz09/ExGY690+4HXcet72dKQ8qTkolB5C8dSE4U2q9ZJfXK6ifIZvLsf4QuGJTlEIQ8YVYwjXjTC+spxyPyzTuzhShq92zXlvpApwtNd9zcZK+tm/w2GedL/kGtYmSR9wnhRqrdxhrVlImLBw8bTnyXWHVSlXiX1kOzrIGbRn2/k9Toekt6380DK/gYo9YYKuEScFNlDDq4CZhHhlbEqi2yzqnqcEqY2s9YDdPp8KQmlAb9aKj4//UjR63v8wCtSccrw7v5ySFqPz6CcpNe5pTQ8yTJb5rTyk42zNBBEM7Qh00LhJXzgdI2Ak9ZtQ42nLKVDMGD3rRA1XfZzwjm+iHbCbcutShqEcrWc9V9B0xp3sr9Jc6aB0lcFCZz+foRpJx3rRnbnGtODGyNvhSjuNhaYqltcGVv6ybKPIv2GdOBWlNhz+enUoi41Z5L/XG92ON03IQh6zoZuYSKrsw1vNa2yspLg/mtm8spdUKu4l2ueny5AxEsoXbj6I6hPai9zFF76fPrXQu20a/iHEaNHJhyjqnCjI0iH95zTNG8Hlc+Ql8KFTvkwuWLxk3og4rno37JO+80rIF+dapiGAANY/Cqte2hcRNo78DW37QO5TexnuB9lorQVVjKFs+UY5fOJSFtMKuwnlmXe4o8FPBfmIUHo1EtCSPABpP803yC1ucPeYTGuy9CLHudZocPLKoFqmQ+zkp+EnkdDSFyCAAL73X9JjQjRqjPgtZuvob3tZ9xIDvrJ6C/AssEGEPsj/ip4z24vscVyeiu7obumwhvEhRxDSS3rj89b3cAZOc6x0eDqLoeaIH9NUFE2uhvG5Qvur/gX7H/OZKENQgIZxNHjpVU6sO0R4erb2L1yI/iQbNaBDevM8fNAEF5oZ/nOX7SBE9zWu8cCzLQp50cEtQkl30Xlr3kyH6bTPxp9poyWqG3g6cV0csi6bn51aTE2YhX7HOJS1ngCG75laBUXtF5CGHDf91lPKF4KSJYGFOaJcb9CnkJN/NG7h8PW27EOstEo0Axxgpaa3vyKP5LaIdKE1QGd5PHWbb8VJhhAvPTbh6c//EI0cpOUVSCJXv5EL5SZwfOzK1MO+QkrF/igrT4GOwvPHE0nfCWm7t/JhFNlaJaCsKt4/w95cuzZ5TAUGXT8vOo47IRhLNuAUgvHcg9SDLcY7i2kGQRxOh6gYLgkIhjwP4GGZldLiZDYnFRhkvi7Jvvigei1825FG+xQ123X9FzmiQN2BCZyYvGg+suep71ufBtzSfw6msH+B2Nipb8+P2SAF9QqmMz0yBk+DP4drAz+nSzLfdxm4mZbFAd/KDnPI7/p3KNJDwPdQXgAJ4TebRw+CuX6MaYENuqYdD2/TZypEz5A84UPY6fbM1F1WKEoAW7IO3ZoGJPhXf3XLqSiATo1HnpVf7amWa2qIAJE8pGrHisXcroIye7UDcx85ziXxqU83njsnDnwTkb9G7NDySLvO944vZHmHCKHtQgOR6rUiM2aPV+jla30336Zo2aj/7m3gzamdy1j0aiVo65/5iu8pkawG3wsPEK95YNroVHr5BuzwtXnG/bsKqLIAKb6/RcyKlyGElxaEXUn8emq3+9L7xM0YwzWcRPM9HXng7KqdFvEqQ/QXpJDdcaW6FlpvEsopPSyLK75Wi+ITfDUM9fgVi2eT0GEsi0jLaOmLAF4PBzMoyizwwU5tIWAjSix6gldeC5roHXxvEmlZ1HYdig4EUa6G6Ct0JbtRqbQbIs8IDKJKulK6E3CMTap000idOqHE3mYYTQMQzOeswF0HRVr4tMlc7gR9EznHGApCA6XuEmHQOGr9p5FablV63+48WwW9W3y3cLBaVfsJW6f6mPSDIfxQqCNP36wBf5tQLJDLUJGh14xBDX/CJClhWWJb+xCH4CYrBgJy6c3AhmGEnxzSj0zfrPgUkZXcMYahrmQBjtZN+3KrkI+7XCQjMgK13i/f93m6KFR9Oz6ZtAUTtjQvr3ux/h9ulpxmxc+4RI83LIFiYl7lW8VtXnclkU7CG21viz2kchtnSvBYrh7MO6AcCcOryxxhFV5KDkxDr6dIiloFxVGAXwZVj+H/OPjUGM47J4cz71kSynMvGoPwiWH05IR69RzW6/DVYcxKluSmyDAl9QOwUvix25sjXiOO2b13B3a+9TzT80lSoLrdIymU+XFGIxPkHuZHhTrq6Pyt5naFmdouffKdq0IRHLJApEhCbkBS8y71gFHBLphWcjo4H+XznjT+6ALvo3NEspZjGgLrngZ937c6PPyOSPFm6jyeMbWdxNYL/ajseQCkkPVBtPBaYLgXJE4SwSeFg4lVJJSvvovMp64bqTtOIJ+7P0MLULCnyoKNUUsxB42GyI5Po2yytIV6Ea8NjYA+mMapVGtPurlT4LCr8TgVo2vFM1rwT+XEPsJ9h1qXVjy4ZXPtlq9cj9pR41X06cCvcmSbxjl8XrpR6890amYFfmGvRkW9JEWih1BjgAFrGQeqYqaiBq7efx1zlMGGxosetYHQZ2drVVbp4pYmV2/KHJGLBedVe5zTHvnveRVcNaj4jSbOcl1p0bwLmhuz1D9rb8cdHojlocrYhNUjcH3bL5Ry8C6UAsoyUaFmB/Luld3iRcqtkM5Ku9uT3hj4prypsV7Wpcc4Gu2aj6SYgYzg7wo7KS0kWCk7x5HL8LSyUil6TwN7hh/KtqUmTdLcTXUqe7h3TTecU48B15zMatWJtU9/vstQ1k75jXG54E2+65x2E26iutrNMWJPqzh20OOnT69+/WGPALWnvA1RSkpHImrYXAJtaqdppYziThnmzHkf/QJygjZAxr70/+AsbfXbi8+lDITEH3J5GuMb6mrdVJ6wnltD0LZQCJmkgb8dfrqBd/YlWrJ3npBnjaDWzl3ERPXtwqbHof/VjuptjluvYl8aca4V5fYOZimdiEjE04T18xB4i23fNDG/yBcl3eaZw/YGm5EN6oyiMZ/eTg7GWzqNfGBJhtjAzjI/DQd3BMXZ9WkDGe3rwgpilD68dCN+T0xpkvyfxp9GHCF8ubFcLQo5mCcaiDopSHNsRzrhfAhus0zCSnakKDveOHkVEr42EvtEYh7dSIcZQ9df3A+Sruzy7RDT0HHyMHMBz4Kg2mkucAVCGp4GNpVKn6a0k3B8fA2tLRnSB1C7mftWOlhpnLmtr7F3Je4lvPsNTg6YTj25O+iG+tzRjJK0wka6X4ZnZkItYDibu3y9c1M3WTwIQ6H66iyYJ9NyDP44yqTucweC2ci4B/TEFvZA94o9QMO/FrppbhTzC487v9E1aCF572xUdnR2mf1pspdrpFkZpXl2a438KU3GGuDQSBdijuSFCqpdfREBhlF3tu8Zof+kMMqWqlXg7Mic7aoEPQhcA7F4x8AglgBHuoanIJrjLkla2IuFM+QqL13tvXScHxe075RaGAjqQ7YkdPPjrOf7bNBDR3AGvNSDoTPKlsr//Ux3So/Boxlpv2NeXlQmC5Y4+ML2J71fusXclVzrpHD3JXO9dJASAqu/wOeFRdlCY/0rUqF0IM33CNcWkK5tU+Aw3A/z2XYd2Hfvb1in2TlDG5OmwQjeoz1StcWERSvfWFiTQYvAU7lN0B/4mSKCjeq1yaHxepZJ/ut3aZIWiatIGBQ33f1gUC8VuiL7HmlTEYz8LCoRbsnIpDijyFtmB8jlLTVvv/Jc1kQPw7CEK9S/3DJwEQ5nVUYRxHJuuOEdWtIhNgL/6UDZAWkgDi6aC35E0ZRvWas2pZ/MJ6u1TOKDsNrAz9GgCPRYpt0u28cXXmJQk9z+lbG/adkFN3Kz7g9nHNvunbzVv35Bk25IAR+LQQY+dO25JLbq8dsIh5NmbVR7U8nguivw6KPfrwP1VakDa7fShR06q+Ha4Pjq6VPogYVPfT7wIw88kOsVu9x1pxW6p/F61HK1nGUdumoCfL6s0bmZnViXiVp7tay2+YjdyrPSF/txLnkblUSrja0JTOJi98dgAbXmXkDS/P4FIJEFnpPcL47IcS0ZH2AZwmUCoB215yDC7kAYMosv076AfNfhYQFNvc7/HFad6h4o9BycHaEQLn57rchF2rvHtfVfciJJ1TweL2RFebHopfLymGafqxic7D2pjGDdQyahYOuOKLDM11bUPDKMl3FQwyehHDda2E3XZLTJDszDsWzv7FqJaGM069kzJ6wkMRuPJ5TLY9yrSItquMGSPIr7KDNq7EhHggX5p3RjAN7pR220dQtS/BYTpmJmHNP7Lu1yog6kPUFlA4xsUR1Fhjqbe/+J4W8ZeIpKyLDI+EXFKPlQy6BQRKviw8SKqkq68QM5OHW6eCixaw+T1QnFIALZ2EoUiLErnUCQNDSWwUHkWAsK17QuHD6UHtc8ko5NbbGCa58vPEMEHvdWEbe4LKgxaIaMAtWr7zu3elVkgKpGT+HPCDaeTN4esou7rcf1ikgAYTksoksmn2GY3dpIxIKTVT/fIdrFCcICN45f52ZhTb7nJ9Iw1vHoCNaWw5rPLbgSH8wbvFl9lSxhm3oxcz2CavAZ09JTESf+C0v974JE1Sl6tyaVQN3f9fgpqme+BOntZAXhu9R1TCKmeZvQki1liwrkpDlTb78w1iL+H7tGtp1ZNWNX+0ci5wy+RESRxY2+TqKIBDvb7Yvc5BcTsA3YJS9DXewzrV1c1SSoebgTyt9ygsXyBXxP4M3QtIWJ46McMcDlFb5x/EMyVmwRJ+5VUXrnmqz47J/xwEt1wbBfEPn7UzTDlDB+Arcd16lS33+2SVfKiA2SXpxRX6uE6aFGogOEZKYyCzjOltyDfO+hc16ZzGEGwmzw+04irWNOcgjTwH4DDa4o8CFXHrTodlVi1pu6A2mgo89gkb0muTqkOSqAbAxVndR7bFEJiJkQd7MgA3lBjgNcmcS4yPknyFb88J7MYjifDhwVOiJ2UOFmXZ7gqUYE6eWeUFblsJxV59wFxrAAPSMHnEeTrAdcetEehp1ZM/yM1eCLuHEI3jBIPTIBLns3afqtb0bGZsu4gQxbrgQPLUPVTCrQpl/kXwZDqNP1qBnfXsVAd/0wtBhVq4A1xBdUcACgw9Gn8AfN0t8Jbt+ZeU83R+BXSMhwf93lsiGsurelEV1/Wol1PqFXSEYHYP32M8tlX+BNguOZp2jtJiVDGHfSO4XPZ5mwWSyDIamazx47NqYWLSoEftTSBnsX0bOdoSp5DyluIDgdMgbcyj+RpWipcXiekjQfPE5kUT84RqvxiCJoZ8W0PKdbfNs9slZjSMvUzToyM1NgXYdOBPU96mpOj0Cqk/MijGIgSOaFhkmno4fHEIewbHgbWfuadEvwJq78ZYPNbjRi85V78jFkQ1U/h/dr8B8O43cIjM5M4pvoYANHRDlD+tT+C82zNMqCg1Z6B1Vtsi8oXn99rvwyn+ZnScpYeebHRb3s8LGNtQ2XxS2JiYX6FkA3/8Alc8IR0taDDopgHZ3dF0dYAsZtYj2EUPznGdK9LiMQwWlhkvuwYkWXQ/KZ8L2oW1YeA3+KpZmQ5NjH9liUENU3PmMBRpVhKRrOKIIBR+ZVCQL4S+VRFz+TIhplwlMYYD9rs1WnKhNz5eL65qXGpCWiLxjCygC0b5sgBtc+VWGFTewOafy8Ei/Y0j8qVxiBPjku0WD7a8+3BhtQ55/dg+QkGRd34kIsuyTfdHYkqSyGA25U94iOOfkPsbzlLvMR1Nd2Nb/nfENGghaqMHwIobN6F7EA8gdC+82d5m5DkQtJpQoMo8O5jJlBgJH9jdGQDLrdhojnOe+Jm8I66DcFZV23MLHStsReWgOKCBEkaeqLK5VTMTIUhS3eV0ssLPvYETP7SNQPoPYclfpCxtLlXKUCjzhtuYf0j0N0xyvIpitTNsO92cCPAAacLsnTW4Hc4rbrO7zk74zJ4rcgpE1XJiO7NEACTvZc+NWMe76V7B75HqaQHLURFLL8/bgw92bQlLmolFnCx0t6FRzxaToIKRYWcE9ICWc/wPMd70EguVsvt8DvwkjwV8zH4JKh8f63XcSJJ6QHO0omq3hZ3I68UFnkoiBKWh1Q8HFOW8vG4fXxIJkNNE4cLhVTnbdz2Jhnyedhbs2GjbMKILf4nkMgThsKAHV/eek+78awf5m/bSvwuoL7MjE8UuBqpYmdqjcEM7xeDU0BT5LzinKwvpSYnj+FnPMw4+tvYUEXnJGXRZdMUdMr5LH+CjvGD2jwXhgEVlO4tQSWJRNlyjRGuea8TCQp4bgl+WHNyisKBsdJAbV8Zygd1SBxjdeXSOGTaxtrVndR+sbJOWBHFdrjPT4okX4tyGSFtmXxAKNbwbkSr0R8Qzyk5G4OxgHBRRgrBT6AWcdje1oIaWSDyImNq5OG37nI8ZcsOFraeWCXZmDUYT9JXwH0o+enr16Nk4I9YZWdOngEgegLYBdf7bpdYhCfsVZljy3knHmaufjxH0RWbC4bpCSztifEONsCNeOYFs7yX7JT+0l2VPM3jNuKrEOlkr2j3Yr7Zx8zdRfoV1igKPHzDrn7bS+jRRNzT+F0h9oTJQx/RhCo6taOEKjKUzjYp2faSC3n5VnXE9bjUiDVryjTkw+FuiWiG65ik8OpMBk4fNUVDjZdSzVAKHPmY9WlmTWC2ZBJZUlPzUuilh8m7b+A5eCBozIoTbJbArcQXcQW80BXzbbh1V27C8mhISfZz3SXbfWCA9fbhXnvYCmE3acfgesSlxSgYfUogDBjSV8UrOAtrgjpzV7GhKknOeB6VFDfKQ559LRbkMzE7bBC67g/pu0Of1bBANUXX/pZKydxd/Q6IHLdnxrVh9DRl2He7+gHni9UJ1yZaS8N0LznEZullfeRoDA74JSbQ10sszp69wwgjDBq6CrjO472dvl3p/0cGxB+pLDbz5TU2xRoJuGCeqzd+uS5mCVDKI/3n94o+GaTp+ux83ykKk+oAmv6SS5LPU59c1+b+QBdIc2KVGJBXDkyvY57uxZQcfkZdLFWCHzkjXeVod8As/plFEf9mxTr77uZire8uGEHcqfTT5umIjgeQeg1gGr7NevOnnX4tN1KVZ5al2Zq9DG8HCuFZdCTPQUnA5eN0FrsgnQg+2i41iZS7XKgqyzz2i5i+nfKKIpp9Gw3FakXLs5Wtpv8iB7HEJ51EjSheNRsVEOk+uqjEt4dQatLqe2K7a7skcoXXqAvM6NwRhfkwBF41kdZwX2Dw8VcPOVm59KPdQdmdafoJkteMh81ULCyXoueW0+fDJsLs1l2+MM9SiLv04g3+n/PL9NbWkL828ghH+nUfwcF7HnS0l4sXHV32CZI+324uX5dr85FOyp05G3chU2EwEic5VIiBSrWkqMa7+yv7/zYHW0ZB0QH6HjusMey7H/crZF5zaWviRwX0Bd6jCsUpgyX8CWKlyKrKOCTYuFvV3Hn5J8VIiP72E+C0lkFRdqYa2u7lBx+BkSxLv3flXioCk2GyR5o/3InVU7aLmODJg/QXbiQf/VDSsLT6YKLn9pIxkJnPxaAPM7IREnHXT0LuFsFj8MGB3U5+HPNVWdJkzBbzldEmbOnSSQFAq/OxeEp8Pq5hbdsYA1yON2F4Sr/iaAOliAtUZbVjvupSR75ysoVL10nquIv6tDAL33OCuUtEbmcu3CeO6waD9p3jzTSfJWq8nUQE6u9PUfqW0g7gXMxK9GvhmU987D0jPC8yLl6dJkBOxeKKFqjI9i9GCgObADmWaIlfrmO3srQv9T+cRGwBxS3PGL+utDl9PwgiCSgzH9Lm5enpHQm8TbcS+zkErLf9Ztf4g/pn6sJKmU72Q/v0CLY8M8K1bemgoD8b5lv4BGaHcqG2owI1kV/3+ncoTtzpgbKCOQRPucQWK6ApZr1lrSwrS+DTUu1ruAW4hfT+IeLPgT/Bql+rQUHpH7lebVAJFgBC6/HDuyu1qw1HGIOx5XYLoVMch+zlF6mnGt8kkU7wCAkF5qnKbK9KDlYHNel2grcV62U24AHKBLHBu6TmT5x30riUZPwt8kAh2vdKbglRd58tumgxWa8EuI1RE6XVCpfV7oL0U0to88RIUYKn7lM1Y8+DYaC2xwa9ZT1FF3PZLU/vDNC0Bw6M8388eSxvwtrIhZg20XNWyP5BXQjxjgrFIAVT/qNWkfUdgghSZCAdlBzrHJ6Kx/rfk7Xp2klF0YEUAej/SV3hL0AmpVmhLDibanXCI3+4xhj1aTgdnQsQF2zpqte9/sVoBLwNHrdTsQk8loJe2G1/QFGTippvrJuLzj5+gP1aQP3Jl/76av675WdyQ6pX9ZLOMqRnTHMZLlWKOtubUvUbYy3LB61vRr6xTDRLCc3YdYSRqCktzcqMmr+C/NKTxAp6MOUD94VzapT35HqvOheH6rg2B7fq6+CpkMM6jXVbgoNFzx7MCj+d56qWoqgnZxyhYWjdV/qbjV5X0GW84s3Tr6eNr7+mHh6hrlutREoYoxAcuaRnSficPqU5zaEUx85/+6rzl4POrzq+vSVrT+ttlehQPsZW0LbR9LeFwpqdFiJ4fbI3mhcwnpkHh/+m7ozMAtBzMsHQ5LAGWsvjoF7/bBWjD8nRkeZ4RzJV4/Mfk253p3yMofV3wXZG4lWqIo2nJJAmVjY77Z2Aes1heTnmH83V7zGykcU+I/XcU82/siCvvWQI30aFxmYHNAM/D7Zl0K2uIRE3zwtgF5MTuG1anwBT/RzUX+jWkdKgiGIsjaUPmukehduvJ2+e/yf1LkAndlbP14SVY4bqRImxlE3OhvzL0UBYuTn8gmG3C7RgsnhwkXWVPhYT4wq5NipEwiKK09kw/3iIKhipHPZEWa0S7qKSdFkhtuIh0MBugy8DgMQKzH4AhBqjtWQPCEhJR1VrozMqE1KWHLa/YZbjnc/0G5hXO/v/WwecCKODBQalZ33LBwnR9K8odhaFhXQs3CyMGgfLDg1d7PaloDce5WiWRFOJavF5bMby9DmGWPgPDZRn8QeA2dyyfdv9iSbrNelz4SO3agsAseEiU4/DIXGhI2cLksCvtICbLW5RuMBt4idHu+NUvTxsPIVQVT1WHK6K5YwfR9SwELRqNiLiEA0zI9Nfrg9iQhwxAThup6tOKLcA6DHFSiTlHy8BOprcRIiXSSkuJfmlZkbDZqY9N3WrSbTOe+pQXghnEt3c1ltCMrj2VLGsi1zEs/UgxlhqFrlY1GgguqNTtwGUXuJzS8IacPQMdZKpL3OenoQXWn271789RA/oIuuFjYcyShkS383iKDNIPv79HppzcQpSQmYxFTcvsAz+PFRxrYLCaRjkDbdm2K+QhmYr9FmzQAcft/vbmn2P4NVmgUJW59y+rxHQv9ScvGB8Rgd//Nhji6FDsicgJSQKC95onHKFkyO2jFrCt86kl0uoxJ8406T3pG6JQqsiFZEj/kEUv6z5iHBvqIbLvKacSE4xdwRa6Qv94hfztzyW6QFdstyPDBgdnxKY9jvsuuvgTR8bQMPvzSAzuN/coKQFZckvbDAm1Gb7vxKHWnBFnbwbIFWKN51MJ9X8ajrrfPnqNMCRyMmQlCHi3cf1Txz1m8mQVnf++Isb37MzyavDEGsgFKzQqFB/xE52XcTrk1FaPWLrCisbcBAXEeSKi561+erulQSiDm6mQEohUST7DLICYcFQvOXoIhdm+Kk4cCmwLlXuCMkQidM0ThmX4mrTtmWcrIraUod7KLPbcKC2x61TJMxP5BF1xXgXdczawZU2Rp4qvn7HxRRV3jjf5x3iCz7syp19nFjuEZI7EyfimWpT84fyPvTfKKyfpVIV3t+r8VRTo6/uVNl2P+TfFD/Q3r0l/OX4O3Nv3QMXGm7g9xLkyxExGUQZOI/PhbjQ6bZu92vOj7zslJp8a5fQqtq+4UNYWW6qlHwsiA3Mp11UBqrV8Y/okVg3DVALrf75BJPUgZ6VZZt7lZ6wV2prx6AmkukH28O4ksV8jmL/jvUS4EjTs058yJcVtHcFETNGcsGN3mf6Zch9r4FWuTbfsguKwecS29yxw5DucgR05tpLO+xppT2PDcgQO16ef4ak0JR0eO9W2Fui6NtzAmtkCUNOIN+hhRAqDbtxPHU56sVbN/hv+YnpNG1CA1bfUrUgvo4SNVc8PDndb/RWq/qgzYRfuwRWDPif+zfePpptChSqrVBhSrxW1jNSu4DybsHcAEulRv4b2rNx+0IiJvJ9+R0mn/XSLcZJULCkB5ku4W9f0pjOvTjDmPbPTp0RuhGXXBezOSbxiG6peHivA9NhIdLVqcvoT9694OwldDEFsMqBgo687yHcXLW82nXVAtDcvkmOYOSRq8akqi2Zcyt0szjBroivfzxcL8+mBTtOBup9du93aQbWzWAvr4z/2WdDlSSevs2FUYS26VGDuWKpahgSpj2aPmqZqE1duCLSReAb1HtyOJY1e4BdeBJlbNQ4Ke1OfFUecBJF+GjzOF9WPStMIFeDgqPurnSEI+ThrGlwdnWyxqoFfQa93TDDXGH92PgMxvzZKLdX1x5xQy4/S51RZXnUkAzu9UFYETh9FL9XceKEmJKnTlUsaU8hlUZswvvTr5uDB7fGnIp4ol7YR/aSfWIHy3PaZyxE78SZBKcK7uJL6gifpQ48UpsobbWEdYZsIQO21q3u2GJpkN7yvBgp3hLkSU19WZ1yXOTtszsqdYoN0naVfInoJ0WEtBxXd3Bi6PbabrDJj73gEfzvCPiUg0TA4riCgPe1G0QlpYmT2LHMBH6CscNuvqJyFNq1dWS2llOIKGcMxfgDJgg5dM+LHvZ9aBIUFEBSWKsyS2NG9vuVKVmSOFo/BTv/BRDtERDWb+L5VgcqmhE5Q4S+ziUy6waD4fZij6EXOqyaB3hUh1k2a9TI22oiuX6gT7jDd/lsJhxEAr8V9uoDH1SF8vEYNkvBdIv2a5jSrenVW0IuaXNDnPaiw2nb3CrJMEfDu/N6UOQBE1wvG0xZ2acFNedhAA2+VaKEIltmQckOvNJW0DYdZLJILtSVuhqArFQA9qRZS7BJTVSBcG6ZEFEH+7YgSsSsZqv9eIX2cJOSYs3KlibZfIFiHRCld1qTzt67jGVPB8PV383EWGQr9vdCWoLzHna7+eyyxsx/4NbmIasNAhSIX4+hDdtxCwgCJN/4HAlHN10EVe3YwCqO3WSdwBimerwSm+0MOTNxhZY3wI6HFaO3ZHFfot3Whldhl+0D0bn0JM17d95ZieJyDNBMdD5fvdqgzjmwws4O5Em9pXX3JnRFyZ/5epxm6w7jnU39u8YTNN1j9Pum4Ifeg+WxH4J2mhJZeaw2Jcy5TRhEBDrxE+8/VljTtDC0eNNm8YRMOChYSkFIpiWfWmKDzxom4C79FIo/dDndivg3CxxT53MiYi905tV8gfXIWCpXHnMtfiAY7Vg50Nu7gx+W41PhfR68l6+RmRqzRLNYjPTEOvbaA40UGTXOUtVjTzBQHloekN9Qe4I1LEUHnzAZoQOHm4C3ecA/cpDYUOhuT9kZOebHw8/WPNxEy4TPhH3t06w3aB219VbPfiVu7Ep64oDZ4mlXKG2Py+IAEg24kt8ABCTvxZWPhgdLSURA6djHs/cAoUj77sC1ugFOxhSLsdcG1aavsmHe5DtmPxGv+rZpprcfJYVFMFHrzWsRVrhfZjIzZcIsTLg3486JD/lCoE/3vK3DyK+041h1xPgnT5zWOWUpssua1NcutamGcZTJ6AXtgciK7h6KXQOt997xIZeMtsSHxeAT0cvg80kGSZDtjenK8qh4yVn5B9m/NukG2/2h8awE5OH0O/paYjrSvytVoWFAX+vblrhcMf1Ow2NJgwWaJ6lKu9tesyxePcOq36JQMJm2ywfJKDXb/+/GROP7jsEg3Yq8usQcopkdLm8RA6yFKaJCZkrifdrChiv8UaZ0AZuyOt+PgsMSR+qPf94AsneULk0c7YOgGwsDEXCHWXIqfJN1OkfpXSZfc9olNE0dHkIHhXcWa+3zZi43E2FYi6g0tTWTKJcuew/7EA3D3WQW5CoFJvz+MQo656r8JGc1RyueEmxNKgxbF7z8VBdanmg5Rf2QPLhUd0pr7coa/0XN05lwzl4B0qZvxk0N39vV4W0ZwrC5fWpBfmjW2TVHZxWgnslYcgk6eHuo1JJJyEEaHy/2GhfhTaRFxBOhICEEgySQ1CvKsXLrIJOBrRRc8c/c3AY5Ap+4gjHzpsjVDzo+1N3LB5IBGABL+yL5kj30S9OW9IDqjK/5aWLuODN/5yk+mkuLFW5Hbg9aqvkqXwd0vqQewwkGA6XSO5QLhk4JQRmrlcUXFMfn0UWFUaTc7ArG5payGInNEjPy3mTIcKnzqlhECUP4ikDPatpuCayHAOciFNtMDKdKfBwsFTPyVj13iYnlEb+ykmn7CxDOeXR5YBbLD5zJ87ZyCvcgErWeUBsI6ORAsEjtmZpOrHTDT8nu6CRvYXdnIjcK3QdN6DXJc+B+wj6g+ufOrCsjG5y5H94SrLlX6Tim3BmW3ZDXvJwOc0tZ5jSpILRkNfBoAG4lw1iORUDDrNpjk9MCt7/n//TYUxTxKiLrKpAA7hrEEEoPQwo+IO7CvLtmrpq0kao8qu64IzvSSKH8mUafXboR5MthgQeNzJ+j2x0ttRUFXIfs88zBORuUhp7p7W2ieJOeaaqoPgdQOdJ9dIFNVtAwYua+SYio9RtCljXbXvSfgK5WB5b1gj6CcadsIUz3Wy9WIfbUwGYmRHfmLtOht04Ocuyf/LQRn72xbU/GJ2hYJWNj+4yUVvlfcatfJ//HyJWwNHflXRMgfQFgBJXPJe026KanuyCspeOval/+yRAO+nEXezLfJUvMWoxkGzVtEOxrtDQs0y/FmWVsEL9dsSFM20RPGOjAhuoQL0QmFgL/0S3tjFm35zD4psUzNHRTF29sc/iWwhqJ/cRmPtpqNOGpfxBJo16vMmykpmoCCVRpRpJdsTu4CPNM6PZFplRMyGeI6ZPfuQVMMssCe425qruU1GwTBCRTRDDkDzZGkkJbxe6QUfXecRlklcmP5D7eyEPfgWd6IuNVdf1RFX20yApbrDRSOGRT3NziBEbh2zhyKgqq8UZyaRe8o7QrSa8RvuaGTZEe5s3fUz7FrP9kzufcfAP71pYtfrnqCdZvQJwwG4BrRMW2zhmopJJO/p5Aem2dtkmb+GVYwF86jGkDmFi/w9Z0HGdkp2p0MppepSrNMnZfUY+nVgvgkl0cr6Db2fZR969Ty6JblLXGtGyiuhPxV/mfq/byZSuOkiMVQhdSMBtT19M3nmYamB/J/ix56adHIgxwlNxQoVDmFq7jgO8bFzmtNimi3tGlWu+/rxTRZyKWfb7PFQALit52S1MTp4RkXOSetQGPRt9Q2DCgGDr2DPuJKcGJBy4ImCh9KI63LaHEZuyi2c9iKTmsHlh1Svl05OMXV9VO2PjFsyqVDk3mXzxP8BtIcL5T98qx58S/vOBgHvglEEVc1vVVgsQKhrRS4CPGMJGhXnFts0ptzDrHPC+wSwyXvgHwPv0m9ar3BQEeyS9bOFKvbb8GJM3QhGkNSrrBD7ajYtrvgzayXj5uozNYaRP4v29jN7ryzr2Vq/gi1QiFMDL/3MezbpqkO0Dgrhof2NWDPTpy4piiEKkmELMvbMtGhxAps5kBqcN1sQSRO0uF1zuSYUNe5T+x59aKolu4qvIncB99NkzXxgox8oXcqlltyTWu+hfZkccKNkY8waWRjTgR37takh7Wfl2Y4MGzZFZIXu8HBxmmil3Stos97Er4yZtauqS/Jy+trkv+SmSmxjhmb7lPSB35Q4DJTFJQJFMwaxDYD47sCSv1tK7Iw7YdQm0zWz/EEEgkBEhgmA0B7PPkt0agTNpXJjmgv+W6lpJamFUCk4sUowLMLNOkYXZIWdBXXgV7H6+invyVtl7PD+Mb9pY+DXxMNmwr9eQP9jaXB+Cg7KsciSbXKFNl0uDTU1uLmxRrJrO/eMumxLjiK73o/4P37OPH5fj3SgcwkUnj2Z3MUwPAOXRksYTCaaetsBN8S19QyiANuOxdYYN31X6fNsus3+YvYH5XBLVVvkqRSQf5I2Ban7cQU781Xob9Z3dASrouDxT8VNMVvbpt9S0b6Iv44mstrEi2xmq0Fk520rP9gUghUSeYWeaizX3sAbbHmiz8NoxNqCksrsvTW/jbSNh2bqYWhesunMGexwwKMBMs5yE7wycij30EW7HBUrOnuPlR6RG17fS2ShEtthTPnZqs3GOj55gLhRdvQ1DjXvWiG8fF7x0PZZJ/IfcALxdvjIeg7IWkq5R5t5hWbqS9LSp6h87HbA57C1EqHmhCpj0KDYt+tazwbmN2gcRGW742BLlk6lQAKJeGXFReEls58Sb8YmIGvXDm7Sn67x18HkDi/DEF11DyBPBdNEBRWLexcGNR6sHZZcnbDFYWyA5BtsC4MSpKCKE7XROMMFRnXPMqswP8pb+2RKemo7e1dJvvsplPe1wwNMzCB7VmDSKaYFTznGyNCQkvCBKd4k9HkAIxSmLUxCABLzrfN5D6cYSoDq3IwvASDhVWj2i5Ejnx26WkLh71cyJsXnLRvLTvItOUAYzzqkr+OUqtLcNdxSzgmjQhsCTIOpk5UZVd28UOUsHV0ndlxDk2DzmS56foO09Gad/bGt6d01WC/omSfBZhc/gyfhPf+uDOPLLfCK2EmDhUNqyjRdOyUlMYHAxo7Fj8bBnfu4Ln3gSkyKdolm+wRflLPfTM4DePtp0IDVzLkAZOUi0RIhSVVhv2VJMk597BYwSLkD1qAg0oNRl6KqDLTkOOAes2+2J+QcWo4hhT89jtSgPDYE7LJ1l3T0Ar88JBsio93eN84s107o+7hruZHHOHI9yYop8+MO3TozMRaFPov9TuM0J+rmUferwAkQ8L7Lwkd2hmUoQBjiLQb7VifwbrJeKItkbDNBEEt2XDU2q0Q89tqYa+iE2GG58Q0UGMi6kUmFgwoCPvrUj53y1pQmI3Hd1X6DchgAfDglkJ0JHu5Whvp4qr2zvutNvLBKGrXHAIWwx/wUhyYNpK719GsZNsRKs24sVlKP4xHX8Oh109YYJCG7g3tR1qXhwdgmmVSaTVgKD8gGGizXrmzqq9WvxX2ug24x2oBXTJ04V4R4Z3WvOks18VfJAhYPehl9tWURUZoAwhP2n7d64TnPaBFQsXJfv90jpP6sQ4mLst99S/z9Y6M41D0FjruCqKlhdGGNEGHdOoU55q7F763Zlp/YKprzQ2EuFK5CR3Xy8Uh3gxiLl9/DtZLezRMOGYIRo+JzyJCEiEQ0ZFnNa949GcK7kd8ucdmgvJiwtQq1bglhrg+yVpST3DALHM580Vy4uuamvEkX+V+InujHJ1P1NJI5EhCn9OHs7sjGub+CmfJTKRQsHcOc67KQF9v7fwgdxDpPxSc7aCDTem+zZ6g5EPqFHRzxCK2opToFhxoWmR9CMUvso+mBlhln31btEAxz0KTN6r8rxEjccuCveWUeVepbo+WzXStKi2PRycc0+m8ztlkutwT7As/5LCDYWwH/m3uWmzZgUVn2c51ANN1X6/1Hi/8zCFFwmzu4LZVrjw6fsWO+pkvqN8Wk4=" title="Mekko Graphics Chart">
            <a:extLst>
              <a:ext uri="{FF2B5EF4-FFF2-40B4-BE49-F238E27FC236}">
                <a16:creationId xmlns:a16="http://schemas.microsoft.com/office/drawing/2014/main" id="{8B893FEA-F392-48A9-901E-F801970E1F41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04800" y="1830690"/>
            <a:ext cx="8534400" cy="4658600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0050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e a Chart in PowerPoin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1295400"/>
            <a:ext cx="8229600" cy="685800"/>
          </a:xfrm>
        </p:spPr>
        <p:txBody>
          <a:bodyPr/>
          <a:lstStyle/>
          <a:p>
            <a:r>
              <a:rPr lang="en-US" dirty="0"/>
              <a:t>Do the data manipulation in Excel and then create the chart in PowerPoint. </a:t>
            </a:r>
          </a:p>
          <a:p>
            <a:endParaRPr lang="en-US" dirty="0"/>
          </a:p>
        </p:txBody>
      </p:sp>
      <p:sp>
        <p:nvSpPr>
          <p:cNvPr id="7" name="Rectangle 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JtXB7Xmfi3BZlo+AgV8FXOznk09Q1vckhqvfCgMVoN2ZqKJ3xqSaKOvF/vc8cVLicHU/Re9+4oHnKLlvOn6CNoZjfUZitDgT5urOrRWxaDL/OBH5pYbQZsdsD+r0WylAEYYZm5dhgkSvEMzJ4xEsVmRWl2C8LZXJK+aF8JupaCvqOASdlYnlfIXcZZWjuEvQyRCkpiySWX9pn5O21DaD9Recvx+wg3XgpieHzXOdlHMGTvxUgiPhYAeJpGWGxUFKD6RctlZp4rQiRomywcx+SrIgZhabHIuuSduXD9rww6g1yNhnbMNqvoRUyXyc0NFvA8wX5Igz+m6x6XDIBnvhyQXT7PuVYje3YTsmMtGJ+SsQtanNpf/Iay1rHX0MVkwBb4Fd+vfQ+SbyzjE6hiOvS9Lc1n5ohVyIu2WwgSBvyxsO2wZ4gJUZ/Q2ehsjExvpTG3s9d1mZHeC76il6H6xfCw1xxPaTQ/Y1TY1DQpR+wR8A/b8wV0SsqTAVGJ7s7VDlyS4oRqbOeIf/tzwPp4noQGdWjvO0Osrnrk75LoJ/fGqrD3jh5AcTAvl1RvlhwnTjFc7co0b5c9RmkX85L/20H+HJK8estBS5JduX5m8c+ixXA+FfF1VnN9UVmUFy4nsUarKsH4Ac1NB9JEYRM8TkACSU3A++VK12L4odWGZf9z6W2/htaiXWaUCTbM/0rz2F8FWyth6xVVg7jciZKkFCgqBZpEQpn+88Kwf/IZ/tiou6jvgngYFJeKPw7mx3zW9EQhEG9kmpEc2qVxN9hFf3uqg930bn6R9xA12TXByxEcv6XabBNhWktxTKc059pRQ4/n3zyjUt+Z+ICG3Va9nqNw0Urg2alZs9at7uGi2GSndsuIik1c2scMA66a0U/GVslc36USQyzxRdBrf2j7NYxm4BaOv5bP/O2x7DTYn+InuIzlRdiHy/pthhr5wEg6PCCBsWRlP+RjUNQFGVMpO2WSPZokY7cfEW42BPDvsj7W/cwDz1rPYWoT27gpYKzo55IkU/wFFb6CXahyLC9XVIBKmTrVnatFQQGvJugSgPQtXTqy6rU9NRaPR1vYpxNIbSjO4l8ualngl+fznkKUm1NCk7nGioVax7n4/8LX3Boem7nNQvEjf/eZvbD0HVhG8xoXVw7R60M9f8L4p7PbD0M/cg9NlGpvCy/1nbroX4JHf080P2o8O+ftjS5DyACIKdwZ10NKA1c4a3KylO9VkvYx9fQ3fV0TGKq3Rgnw2/cydK1yXDHMozmnVU0ztqttqiJSIyqYJOYMBdHh9gPHdkeqiD/i7WxN4pFBKVWjjuCIV8vd6j2QFk5A7Z3qwYY7aACAl6eJghOqf32MX6HO9VcHSOkamp2Z7fQLNq+lLxEfXbvw47Rj0yIwIJagPBZhYiKHPLJzsFDPjvizobclOOT9TvOzE21EuPubK5SVZhHpOsEgp5LaG+hVUb3yzVhh8V6Jx19OoS1bESQAPxp4L5pnrp0trIeKbJZqoY5A3RdPZeMHoU3WOTySHLfE5bXeDWsh5zHxe7su+gARZD+8Otdtj4YId63D6DHCZdux44Wr+RTUk0lud2+sd+E1vBMFs/geobYUxS5AFbpi1RbGEdVBAVHxfkIA+D23aOjgQHAsW93WIp81w7G7jcnGZh43CMccASHfiIglMfiSYvyk//UrzqGz0OWnHFsy/al/SvSO29ErKj/aJLtixb+4hXTD+dziUBTFfa+qihoQeTp2adgtYlT0hc027ZqdLH8CJoI8OJEck6UlqK90x7HhUd7ocMI/XymH5nBP+kqoxY5pz3fN/MMByRFAdQ6S9yXaDcUbEmaq1Yu7OWmDiaeVY+/4WcIZS+JDaLl+JRyhMx/c9xGY201ShCGcwAbX4637rmZ5gp3N87fC4kjhI4Tr4pUsTsuuRtQDnEq7c9TPs8Kxl2/i/oeYq3QAqAHIbsFnBlhGfoEM7QfILvPG9nJxQXlbpkICvMAbVJjqrW43osJdubJm6hZLkfKv0DTTjUNlgI8riGYOYhhBsvqAh1KGIKKmMexgSKzjun3r5IFy/uoSiA5hNGB0tOCBaTctyIFxDs4KpHK9w6yOFL0M6zEqNsGXnIAiR5cJQpk/YyNiKMyZFekCVxFtRXzIafT27a+jUKzlBYx+8EGbK6eyNHGcriU0vEgrqAoxJzKLCmuAjsYlVNsPDLpydwvAvpyAfl+cTb3D8OueZ1Wnt1WV3yohu6vnzhbatr9BSUJkr4jICrEpFynxDIEoO5328IvbME4n99o55LRVMt55effRT6bcxENodaKfgXe103Bjl6DdIIIOql16C72nJd8I9j89yzRv2bkb7mbHDVx67c+KpxqURAOLPHSExxE1kM0RfVy1bDWFfe8XE4lratDANzetlFMbBP7aTESz5CteD9Fvjfnw+yT3XyYLyedzzMxr7bmsPOZeGmbAGiXVU20+IB7idnEpDorlNJyt39+u+cJ6V/hGDGSwBB75E5WG12pbjOgkr3XoVh49eUFEPFoea1agIV6APuj7JB6glAkfv6naNt8JNGFh+W8++C0A59nCgKttxA/GDUeOCPOih8pmz0PyZsnJ0j+UcJUtNEuIky8YE15DljL/KCprMLSa8VdXhnazsl/B82KSj911DGfxDlhcc5lxVkeDD9LcfBUA1+rN0deou1USmR4VWWCDikO9Ox6Irq1i0MikxZoUeo9248y0zbxl88mskhw+zk3CHV6q/jI4VkesjspbgvsARg5SONSKmTjIb579pqMyBFG4/h3nQQvz3bOhpb8uUse7ULoRyJrV8ImBPBD/DAnM8V85t+8aygA8aD2M57yaLoXdgTz1dODJQA+Za9lx3ge7VfzTMHcZINCVlOxEeANAn5izw14yZmM+BCU+Ni/8jfQdH9d+VSK8P7/DRkcbELxrfQpQWHiaZD59U1/YCr7nTNaEvsVhL8GKVVuDm18BD8ETZmDhuTb1SOwFP0tkPH/hoxxHNka+Thgkj0EXhvSRfCjs7DolOPjv2P5ZAC7zk4fm8DhPOsGllOBftUugFLHOWWoiIqtkGvFJ6fuWrNziWf+3UpKPIOtA4zObT8M+q6D2rBNtFPZVBrqZc7X73S4exl1eYoICavkKFUDyIBSxNP5jXBtlvBAIB+VvDq3Ccd5M6kBUjMqJZyFSIuf8AGsCUluS9soJyGjFCorO8SP8/swiwBe34DVcUdiB59PA0nuv/ci5Yjt+Vbc1wv2+GOfdD6KMUvo5SdJwlTKWLyN7mBs3znI6mA1I7J4gSiUYx6yzm7aBt6MQMkBq/8oMTOEZFschjpbdSSGp6U193FvIP/0k3WXoXhIA2LPQMyjUWz+qjpgGVMJptWIOjAR3OCNOVD0cAfd5jUYGc8k8DEtAGe7cky6bh4F2TzcFfH5Eww4OJojgmF6FKISG0nmpO5mgYYB4d2Ot61k6dK8ZdsxNRtpyjamlCtHlMWDpACIDBoN99XQiwGbEQVK0y8z1mfSDCL6dDSSZ9dZxTIVQj96CepsfY2g2QIvCmDmYhZta8V/+kzMAoFXUVyjURvdsLM+nIT01TEeiQG4lTpA3VAw8jVAfbXJWLFCbZ32QLBNMxKZD/oCwJwgL82ia9uEgi82Efztjd3qeS5mJY3vMbHa6sJlTGc2GGbay5MnpBDWtPPzbQdqQEuFo+gSZtTRlf/BPNpascA+2E+UC/tCsKn5LM8Tc1Qgh+b6ed8ML89Cfsl3kNEr6exWL3chptrFYPwnv2cpopfNzGu133alP7y8sMDiU9uXWyOXNO5EyTHE2BumkxubHP2UKip6ZApvicvAgPZt+Ih5yVMPNuTsFU3ss644Zd5b0aKPwkgAX0zoVpMREo7HGLGIC33ZiUXuF94HVdBX5po1c68U6tDqswQCPFqcWF6ll98/vs8qMEkbdBSfpVOKFzO2/BhQl11cDu+m2lyYB7dTqbDJPg9jBq3PuimhCBiGYYgBS61m3JMIa2yX7r7f3PN7z68rW/mksVhXrXpFaoBZS+UAPGrfKLaGvY9y6D+Vr/TT/nCJDuH5Un6V9rlJS3mzTuoTXFyw4YTl6WUKQRH1O5f2ls+bdGiHfoy2wdcF1o+ag69ZJv9XojNZTJF1K62PWip32eSB94W+nkqZorksKxsVPFKlmWVsAiVKzk9Aybny97l11y1iIGXzZWSrQu9hDv7HMHhqqFL5z8zewFfDClST5N28pa4MDpCBignWsDhAkXsBlSZm7wayCtUoDaGGeUGKKaeDiMCdxSMWlV1HrDhR99kTTe+q5lCE5QLSyY34E3zuc8DZ+4p/UrCSZAirchIS7eMh4h62xvJedVF9vTaZIOzqKoEi+qcVF9Ar7m7fZHSs5kPsKApqHFoVcdAmduRnS1RqvKhznBenjR/ew2wTXtt3W0zlvxcMfp4aKrGu9pejhCYMTMLueoQP8luyfaUcvWtJsgvsYAS/ic99bdmYFLn/VNXsYQLlfIPme6lnv5sZFZ8Mw9M3ZH85CWZwLMcE2uReFQi69N562uH54c1WvhwkBCGr9bCDVkdyC11BI+SlX19SyzQx0ciyiHX5sgu70+DpQz46IOgzc/BRkYvf3h8H8GlSlFMwWpnkOpTJbePk8bSFf8trqJJ2DUZmmT/2qtQTNL3TMh7hguqHhPnSPBw05QZCiTSxemTywK7QCe8Rj6fTfvYVZiZE6lfc2xlioZ/LHTYSJmI+j+n62Ey9lMrXNIun8CCz3F5afhwirv42T+K67cooEn1QNvn/IOopcz7xFxZpTyrZbLa5o2lQpQ8jn4A2XHIFl9NtGx3vyawENtnRJFKze8iR2q1lCV77JQbeQKmX/adbBjDSyEbN6Kj8nNSl/rcRT0xOtVizCeLtH6uBahoQPur3mmBBVkrW3kKjUpkRw6YZfbECQnxuEIxYNUX+uQuW8tmJEsiPQ1my7BQPhCTgDYzHhnC3TQqUgzsWj7u7eXW6dDzfQ14QRPgX9bjQJ8n/EfRZz9RbM3Xtvu2SLJ2W+Z4mmbiGcuXMF5jo+jQ7m3GPCS1S9lCd7MIvT+Ixqtxaa4t9xAiigulpQgn74Mh7jACXrExD+3gnKxmQhTMLZFJjUzigIoxtvbJs9J+2fpra+FpzbcYXyFiLAeQEa3I5N5jkZxO+9dPzI+VL3gIQ/xhMNRJP3jQIzQ1/hWoZZu+2tN+4kmQplc/6MpYydiItiKoKqmRNc++Rj78bOwzlvYtTlVnd/YrLlC3GYt3ehNOSC6PjEv8X2rKiT8vS/2PSqf8XqFNtcyIAOwjoRIMwPB6aG0TFMnTURI5o50P9oHPI+TPKeFR8fV7KsvATtnv6/UXcJkWhDFmIc6irUobQZjq81udggVAzuP4GP6ZuqbYRkD84z3HaChpDbRqLXYJLK94gXZWf8KFdGZm+fAFFWgSFWdMxCGAeBN20QoXPOPvSZBOLSEyBSaDALSo+SKaHFD6YhpVQYtlP5ljHHiwuu+IqO6hppwM+4XDJAkg13VujF6Fme48045SD6Y+t24s78M0j8nb8vKLIENUGiiWTbAVI1tBqGsyf64SU+27SeQ/ET4yMuGIIzmqjXpfYVQVwDQgh1eN8xPUForTFZv+qfpN/QxLC3WNcH93raMCmKOVo9KNK9kKJPmxehlU8Drw1ZvtreLPByMmZJ2mG+1BuRI9/lQ4PfdOy0oZWDJmR4fvRRdCGfZykiOyzG+qjtrj3qZmw6jTOSCOrZXuffW4ScMKp7cA9Oalxf8+NavFkE8onAbzLPqo2bj/KcVdHKKgh4NkoCGX8XMntHPisSS7zyWMX/RcwArx14V4yFfP9/Hf7UfhM2YVxW5jMP0m+WPk4v3TKL5M0Yne31rJ9UDEiSlHB9JC+m2G8gIsa2nC5j+8f2YFiNPyR5qEf0QxH3MV7skOHSDSqTMX2kkZ12yT2wpc0g4DPFr7DXB23G16Dn9mKv7DqroJ7I8r1C1O2BOiR54Jk3fdNr1mFu9jNjY0Jt0IZidlx7+rFRTVIeuogGpU6H1WIkf9lU4jGcFpBRy0kH9pzZnMH0mFMhCYYgAMsuDYzwz8I/SxCLywiIQNKwycRmEg/1qhda0VKTUYphs235AlZ4asq4P9yY8D8uuzt/WUT3wJcgwFtx2z9qU6HiafsjWl5tPn02Gzqej8x0eeD0gjy0CBwtPxW5pM0/XdEzFUlzcLU7Sm9imFh2vxEEmAT3yhZ71z6/ZMyECMoT2/L5tXpmmpF+tx1r7/Pwdgv68NiuoRtZQCoPwRoM9Xeh/Xm9NN4m+s705sx/S2Uu6TYVyOc8bueLyH6/FPOTKBTeCzGZ39WhLuOVcHOfTRItLqNO1Rni82UDhferNVJi6HwSqFcoKCHT+71sdELFiswBX4+cZcmtD+vZX8hzlaBTqqZD/3f/i4aLlrR9+YejhuOQ1jNkBn7rz67htKfXUr0fI/t0dRnZJG199x265dpQ7U8sVXwKcyO2CQyyuWdm2MW35WHAIT/cPaWx0QIhDIitanceoZH+ryijeQFmsgRdsGR/ql92TzkAXtQfqq+1uVQ+b3GUuCDl6tbAZgJPT6d6amhvRoh6KCn8fBYkIgK+7eC7XnwN94VbKROyVaHpbu9IArpYe1fvQiWV9zMQT0k6zgzSfr/evPikgGY2li3gziMatLBNprA8xi4zbXkKHSVtQHeirKzy11pgiEuRaBJnKDGvNHBLbgI8ucREdS/FoqUkgdV/eA9gjPvIoYmA/ReRgN8NRJ9MD2ZqI+OTKi5qeTX4EgpPL8vgWGgY24aYvk+kV5cq8AreHsCl4NI1UrFSH3pYMuQ7g2cdE4yyaOVI7K/FjZbRzDL+AlL5ic8PC1PwJUO32GFnPz/m0rO9mUO89sZzgOXPmvw2GIetWgQJ5U/YRcampdG3KFyR+ZpI1olQgiotXcrYEVRi9pj8ala+yefGmk3q8dmNZZUJ5rSSsNBdNBad35vvA/JlVPBUDXapT0OLCmvIoPNInZDi/ZGE1c+3toymGrXUQYlwYlkrTnThxgkGWv9cpaxqglocdu1nXKkMAboxazUg3FfxgT/38nSdYUicAdwU/PTbMEk5tl3BFZFlkJnRdSdbkCFC/yGgpkEgR5hiJOZKtoQfNMpfXf+FmyNi+he7W82xdeDTdoiunxpW+cK7iU/yZIKXg+H6B2nAycpAs2zuYJSQZpM6VyEiAD6VghJtTekxQh8equtf0bqE/Ws0ThT95dIxkJjYrMrjGsTZZjLIoKr3jNVw9LNkumrT+imOJq+kQWjFz86JLkDv/nW9LULOgxioC4CTp7iuv6vVRG0QvhMkzb2pgDovzSOj+QMQCsK4xP04bqyTyKMw/bfvKdlh0nJjvPtiZmHgf2EugtVSmawB0NVBmMQWckyuW4CsC6s+IxOxqxX8x0gDjBYgYhjf8+LrbWLI/PLrblKuAHTq25JW1YXo1aa9HPQie61qVnYuBs0EPkIFCjTIHk0ZBgF6bbvSqIelsnrUWb9tvPEQXujaccLrRuri8Uw4BuwN5AB99wC/nche3lWCOalebsFasTlmmflVDcrWVAWNEox/cqyknFvj7VssCMUFlV+nHOvmfCUF9XIs4eEIBgHG23wGlC9DFV0A5TWh4VfC4HTxMsDfYoLNyW8e1lGCLsPrSWlio+x0BK5tg7gyMB79C/XGeGwGp6bJGPkCR0ma0WgPzUme2nZ//8KjzFgHGGBDfql0YIP+ThGIfaQz0m3GWXYxEb5dLF1HSNdKoxM9cytF/M1Q/evBLHVmuO3UgnilTDC7pAuNBo7KoeFLBiXlG7xHaGKaqNFwbI6YD9EH9BMqTG5uL6uZXsPJB65WBeGEKHIFxdg/DbjNA0K1CamNkzVnSu8pU97dCDN2BEF5kd6B70P74wCej+IwZ6dZnPd7wD2uOAtBvLkHmCIuLRs+tLdMfxeQJ4u+W/dmccUtPAAltlz1BvTBA7dYzh8LlLOSilF1Gynuf/TLEugsnQLOgu6t2Dajb0T1u4TzbDprEF/1UZmMAJsTPXTpYInQZMJcKmIgIPOPmQltz2rPvodhGTAhVCfTuOmFXYlX0vHQl9969bmSUi4qmEbG++pp7leepN6cUHfs6SGELSveEsnwll6EoUQSGBW9FWGCCFWHIm+WYJgeLFQ8chVk0TynqnqqYBNYcBZ9cfKRDjya8pJIQrS9HGo87Ti8IAH0Yskvhv0EtDy9zOgBQ6nSeQ5UGHrWGJJDVBzcpe4ziin0ZWsktvm6y02nSwNiE+bFy+Ph5MKeE7UtV7A1N/nb7gMeGQVENILY51YF7pswrphTLhziux478YjOhlIJSVAFTVbpb4VreuVVaEBLhFy9lGq/PrpIGAeniDqhsuM40I78uL+DGvm/kcRKmcrXUCn12VFCBDTxshROdvWy3L3bqumuaTXRImsq8mcbi0m9BvLHuqhbhL7ZBxcXO8uj5L7GlZwh/djLY8D+2VkAEgTKS113ChnyxV/I+4OwNktUyG4HR6v2r+LKWeYgx3+Z3dGcKLo65pXZuXVN8PKpLrqiTQ83zLqzKJxPgHsbCblCDUc6TMi+0EkFqloGKy7DRLiQs1mT7EOYnuXwUNfcAkLURyNR2Hxqa+CfnvfZgiJnVUoV6rA+WcCW+sJ9+Yom/6VrGB8YH2suFxRbyKNRwUYKZ0uXjOBULZ3vWXPtqzC9AWKTJyS2WD/QWqyZ0EdZNkorjwc5S6r1Gy1kCwre0c4lJ5MbpE++kZE7jk0wlkRmAyWDe0kFW24Bv9ZYo4Cf3bO84/1ddtxlL+Stjs8OjW40nkGJglgMR2IjEuUrhEbDB4mumE3Z7v8NIh+6CyFZCoGRZlQKdine6Dz5nPCWaiivnaAJ2W1vF8z7CDCsjbxkHyc55biXYufBHw5j9TStKUsf/sh/F5dwoYl+xdNI6WCOSmEPE5UftlBipS2I7vyLjxty/MNe/7NGOB9NglUwEdPBpNm5nm/Kg/RN/tqSVPHvLTEr3vVeVKiCfqx9UQ0V/7uGyZfeaIeA/YMuacO/X1d4xX/lWaYDM3X/jR13fhp6uxscMA4qIYS19AuCxeCPr9Jj5QWOxoqEoPx8UKDsd06i3lw3R37L45uKvI0+Q5Wlk1wnl+RGba+3/4clqvuhauLDV1X2I6w2gC8l9Zy/0aGiFVbmLWLdUfruzSD74LcGpW1gK2DUTH2MDZivV7LWhxQdYQdVzeqy57tw7Y7SDydR4SdmbDN8X9v9oLK+yQlK3IlxNguCb4+IJ7EfMpuhoUnV5mA7tCaInULC0dRBdPvorqVgfigaA9Oa34sUVOxRiAFbz3CsDZ6+hbq/i6KIpX5ej0X0HsXaBXHdAMkYD/p9EzcsMMFhogGV/UAIiobBhJTfhgf6r2xE3MFlmIvFdHkEzvJJam5wCyaPUwIZW7WFETWD8VIs5SQDI1pyO/dr12ipaCnKBOuHYc60N3bGAUczEYtmt1rwVIaj0Cpud4N+TY/OWVkfPvwR+HCKVg1/TWWkK8b23Z6vsno14Z7T39mkVyVMsShhyhWE4bLh0cOpK3ZrXVRFdLvaOVOdh9dZUp10l6UWtIBuTut3LIZjgGnL1z648EfyUArOOEXDthglCg2NXAl9PP2CLvN5d2U6zIl24cLK8Ui0V6ukQgipu/cUz1llRP6XFyyweqOUIn5sTU1LIUZ0BDwzYICWrCfzfzpsuzqk29m8wiwJdgupbDFBecyBpvMQ0xzYaj04/4Nzeh2fYD2gJc1X8tF0r8Jd2ofL3dn8SLPplKh/M6GaaxVSIPDMuQMFwF2bfodPWNH9ZD7llx15kqq+BNx8AQdvvvLKvvYV9Nw56GXia/sSTPCEk60yCUrStqFpl+X9cGA+hTPBX3eoSIMGF2fLZqjpFZuGLBnpvQa/M18cff+nvLvNfp3w8pjs7RMg/Bo+ZcOJEvAYhLpnUZi+BQ9mWhDUypH86pgvO5e8ZZ5nofH1tpg1XET0STwbQNfCtg0VTTNg4YO1Y24lVi2CkSVUKPQgD1pt4koPqAhlgxL9HbJrAgpSQnV5IcJetawZp5Fgi4bjcQbAyJMssjD2L2Qjp8Nlv8vPkzrVU2aeICaSqfQ8qrv2VH5AD05LnwlOiTn2Vd5TCIVmLSLvVwrrztsaDHYn/Dv9aE91ZaWih0DCOlLZHqUIKO8f9akRWKJogcgFaw50sBO4yaXw4eEkFHN8I6wfDcf2SFRZ8Cli4k/UKVJX+WJK88STI5MyXaLJY22nB4MxIHCDlPZGDFcxNPQNH0UYe1Q5Kp/ZnJ+FaZQcbUsc8e8nPPiJpCfJMXz7U7T25BgLvDshy6ohxIao4EJYYDtcPNp+jtjyTLvngVsN0CfQYzWC11tETtMV9BYcv+Q0peNKldZ+Cng+jnD0ggdkggkbr8SZyDuNtiGaCRpGgO/EBBiv89pnXCJtzYAT6bUyyq2heumNy77sOFmx8vMorB3WtoGbrVEgkuWdmiiRN+Ibjr7vm1jEeoKpE+RjgQN4NzBRTm87SVUGu+NrP9QH0NE1GdV0ulcunkUadUvggqoyRUVyxdCJeuvw0oH3bCVtXHJUVNJWYGlRV4PlYkFIRs9z28AdOvlDghXA1gPdiQu2a9E6GbK1V0BSnuKuI7UJKRd0O8756BPOdvlOleAreA/BY3cyQbNJmb59/7L+QkgpMhTNL3T3qs9D7ZglV2mOctySDRoFb6rDrsiWRL3Fe4ZvXJU56bt5UNB0Sb/pRevUMDSYwCU43+wSS5XcAY0z1VoJHe2L+oogNS+LDNjZWhVfIzNZbOyGIL+GWmgB2zYHxi4815cl4nHvQdBDR4Fpiq2JpqRqRPQZYIjsZoJhf6yDZvYIl5qOSe7pdx0tXWnGq3swkwOZsvXJEV+UKLZPMqpL0e45AZNyV2YQVnkivcsYtBpthnFV1FZrpM/6ogIb/xsXsbNJgdj5AKvhSQmnM7pgwGi3ZYEBNedi6nkM6WWlvKexl9GyQEqZFeH21eVSAgGiFlSZDL3qdlkc55spggmlCz+3ZLjoFyo9AqqutVT/2Di4zYd4blFCr6lKQ5hXGyQIFrGuDA/RZBoS4Fyo1dAjjDF4SlhA1VVxAB8sHHj6ZzQeFf7wayvrIuVXbV/rJsSW2pIHftmkjRSQVKodfG+rYKgcel9kLAW25xw7Bu/NcQyG65g+xgfAYrEIhgaOjbhT/miKQl0mHD0T3xXGMZk6BiMwhaV4mZCUAVvQjoorD2IcEYy267FKF14mUwElxf3HD+l+t7uOwCaPZrciKcn/wO8seUKYQvhEPDGwqHc5dNj0UgyJXGFD1RkRoz83eGNmemMXjSoC+74DPmHmLdVctIxF1VSsBVzCeyFp5+Xu9z3QeeKxRuaHmli9yGMXTrzqQvTWtUvN1Ab63kyyBqXsBOnQcWbp+3PT9M1Qg9/AGkilARsvG3v+DfMuqMlCYGIo8Jpc3akPJjJ3pVoOQ8d0TZYfwtcsbcJ9yR435f4wjGZwGUlTuen+qGFO5OXNrPIJUuTLky1NLWmy2SBP6/GBEaV8EUQ3WVvLjS58mG16h+n5yRBiyTAjoF1/QpHSyU2WgTL2sFFT6EdeAv6yKTAVco7V81F6Ht2Ry/ULS2UxPIgok3qJ9wvvzuTWALfD18Ha3EAZGXRNXKVTkrXiSDWOM7KqX+Qh/Jk351u/7e8XHkiKN6NcEfcJqzYGmRbqxpJ0DHXecBaF9/Na+yOWafi5A0NYdh1aGAWVQkgHItgW5dZAVOFFA17fmd82vujSu4ZENqB6CtV3vARNNqpJBtyO3QekB+qnUbqOGPridrzbJxUlQjpIpO+VP1F/Znu1oVsmmsleJLKy7Zc91JSdjfHbe9kkye/wBtxycb2fpBMPw2OguUDc4i5O30GKWZB9Z3pg0sh09A8gqKZxX6yt9nUW+EU3dD9nh9OA6FhOtXokdZIdtf/FV0lLr7/ougG9YLvA4n5WV5lIyfUD6iOE0Ny8Lw3rpcsylpsL26sUoBsGiII37/ZedVCoxgTYwD9SsJ4w5EP7230oiwdfpTLGpkF1Nu+NO4bkcGY+pTLbdlde4A3YBXeDk7PG8M6TX8HqI1c4hCW6uHB+MJhfFCQ9YxUiOutNfBN7Kj0EWr0q2dt4jvw6YnA7yO0wjN62LkLvMcie/hTT65vu/4VqxjUDErugsH+Oi8PGMAltFSC6hBEPGa1bpDWnJKP0/F9pWEqauclNExbckEuWADN3GWhFyPdWlczdAvRbd3jxcr5ZIqsCGyn3e5yRHdZdkNcIoEraIR6hcbzwbHJf3uZ9wxoJqZe4vFeQ6Njsov++Pof+nfVtF/It2HY9PkKLzqB3Mvy4+BppWuQ0oXHEIEO5R+NqdRR38ReguR9FxDhmAqMK1PSFr4yKvHW3EwR+WfLhsSXKdLtbRir3vV4aqe5+tdPYnC+L318ZfqtB5GQrgp4FMCHJy2K9cpDO3BVdTJb36Msk4Hm96zEjloA4wAtjLQc7+n8M70YycmP5f7JeQZjS5rspXNfmiNIS8pm/sN4T9axKZ7IIGlaPH84YiGLaUAYCp03ZpXjkN4y7hhIY5eBWB4eadIIc359kh0Q6rQLctJLKqYcvcCr31Jru9EWikjNE4d6qsmlQi6zlw++MUTcOrpMkzxnKxraCD9uQICfyitl9zGWaPzB4it7p3YYIV+jbNHKYNMlqrhBvRYjTra1BgFG46YfyBBWqbBboLfzXdzLMoNtbW000ZEmjPikpkSuPPp3h/L4k6SwdIqSmh+bOVUW5yf1fYDdbmzy9WmnEteEvG2vUZEB46Sg/F7vxSqmBYjzNwuCxgTw2/Kza6uk+R6QOpRhujLSb9sflFIpZCFUS3dE0fhMx+RHu9KrHTpfJ2fclvWYtjUOEapM2/TysEO6dviedBgfkkxitK2m0sLyd4N8g4ysoQ0zdoRji9Bh92WlCNlQ34ugQ/xgnrl1dQLZE8sLiIVZOworsFXXUQVx0g0gZDbWRS5boGD73KBF38UaWcRi0wwoSzCAB7AzbhizLi2uuHekDUv8ITihE05/W7eY8+5/GKauPQVDxp1XWtvSLdz36Q6B27e3W78bhDGz9u+6tHXJ4gEuGeujyjrU/0i3Uq+PzDySv27b/rXBFGugydC7Ay/JjvY4eE4MLKG1PTMmrJGmkKfmhQFKoZFvKcEF3Mp3/NKEwoXKeav505NDOGukJopd0/iDqrORoMXx1R3zpblD6wiVMo1whmt18Ap4kl2M4pL8H1WeDb2XN4dpGBiF5cYuFWmBHIOsbsRAGu3oZ4CdTdRlYgbIjTs802xe3TToVIC3dn3fumWt9o0oR9Kit+GwzE1bWdCdhmvRkRpY9Hl9ZU1Dlf5XZ/KO9bZmmQDpDq6tcZjrLxn0UySGEjYgNDurGdBA68hjzmbrDq53ZTHt/HGviggELt1sQL7+SSLlwXFMIPKXRR4oTq2/2SWwYp65Dr017+rWguY7VSyt3W9Bw1mXTntKlXB95eJN+QbE+pqRwykIIRA8gd5jVbd+zz4ncEsVCVGsMu3dNunYVVKKLWT489+1VxDJKCdWEn21WCcsoeXzVqsD0H+rEu9H4H+GzvKl3IEDKiPv1dq9RJBTfsAbb5YGkXmG/ZsImKsKf+hXtgqavw4MqXg/dSm5ObYVSu7j4rf4UC4MVVC5Zxi4siWtmAJquQhzKeKFTtr06RUUzCP7OCws+HFF4MLwSeyNAGlkT/7kbZunQUI+ewnRszi+mA36OIrGS7enJ9kDS4/YZFovPIST2t3jGZNmC+k4eU/mtk708kfc+HFaIVxOt/Wk6ZiuNP6gYtwo4PqPAcEfsDQxx40e2ez73je/bO01yeu7WVt0Y/nhmKW/EISVFJ9hP3OeZDX1OYbX8+GqKWWaZkTBD8yWiT/l2PYcbTRcjWwetcdvdAqtMzIHkd4SKkVRGOou4ZKNNDx4EkrYGJaQS702cAWleLN3d+O7/8Ek2oCdPcfoYg7/7KhRV6KvNJjkSyVIEYmo9UZ9w8ibrUEx4hMqUaAyLaP4Dx6oYJnvp7P3HQrmgT4K+nnR4N1c2LZTvTHCXshgVmXIg1zXWTlSl+J8gJrsuHxF/9ltH2zH/PGl6Tq9F+FLJ6dklGRllixl4pChoWz8oHxr6nvVkt2laMhwEJ4qNHsupwm6YNRnrYFQqHrDQ6t74KGayuNVkEBjIDM7/7cnuXnHpfWsOcbcgpU5nDcyFJoR6GAlttNSZsl94uqKej+hn8FdcTy4LKPAStpW22Bk7sJNY3K6aZUIolIM2ZPXoEKbRQcYnIzvdLCcp8p41QdHzRFGU8czrwkfw/LQmAOENZQ9KRPO03+ft6lH1/PCqnFSB2UuVkGDIw3YtY5m5g2yaqM3EUv3pJjdPHe58KiCAO7N2POzFWc85JaFtk74czm/Ltfk6eUg9dZLmzncc6QWvrHNS/55Gf6ApXHjFmbwJoqx0z2JwUR8EZZ0wvwInxg+ibUs1Fh3+vjSbQbrkmEwu12hofQf61L3Kn1ZYGe8h7ZQOAhO20+iOMTdYgmiO/nxmUiK3Wv1os94YYuRFI0LAU/ylZX6rT3DJ7W0/5oyY/8rxMx5ciPu0fOdDf3GUO7K80gzxg0tAlyO4mXbZoVBm++WifpNoEXK9icYP2T2aeEiA78pBnNNLyT0yhtKROl0NpbGbz9nBbC2Konp3GbbvDkJObDOVKrPBGEdOzS+0KZGFIXc3L/tV2xewrC4xP/xanaHr7wTjOclBqKR+F6brE3w0gL8tzpPmeQv+g41DJNUJhYSiUNZq1edVmA2YusSeAfDvxz8Afeczdvg/JZudvR3cbRRDeNcdcxRN/uEhoNB4ajSyX8+zSELJl3JSyeS/MKik61YM38DpFC6KyaYNiREqosM+FYYsvQEwk4wXp8advtTonk/G3MFgHQlf5zV5aIguiQF7mbStNDbKDtpue28Ov6UwglShtvq7wkE4eK53n1w3jnGwrSmmTepeglWCcgfRCTc4hBqb+GNGB3T8WIvFPVyFH7h1ryfquFvQkt2h7fO6MggVZs63X+sjjLpP1BIFeTxkQ+46gOQ4jDwAoFXgb1z46ZF6ZnI3zAU/AlUFMrNPjHeAHkiRiOacQ8OFUm3+ocC6OkGQC/CKEpBZUuKlZS/ByoVAIRgBVxEjVI+1CrkJ5Uz6apcMghOYNF2rUNeoyZ9jxKJ8SgFcoFQYZB/AhfRMF3ZUV+M/YxvvPWan+EfTQo6hjwVUjVofZB+GbbkX1A6/Hms9fAU2GQzPFCxWRTEnODPeaqNrHHXWXZVKrVBf4pkbLMXxTGbN5R37uUoGw5F5ScK+D6WKLOd6m33cXs9WtT8i0q+b1QQCPn41pSpFKmSl3yRqmUKBwWyeyf7n0Tnhy44TJf3vKhDLtGrcUPChD9PCCZ1DwAvVEW2ohYfy1oFuubWQaN23sA8Ke10J+mJpEo75nMyERg7RojydH9KYbnVthPW3eYt4698K1ZnjpchBUdnp7bWyGai6+vIfTcIvAmmz5OXaAobSDdtRZcOGBXxqDu9bOI7p+E6DAY8QUV2NnIg+7AvtSBoABPQ1ovHfxm/EYRSgNryN8ZF2+XvJmySUYXSUW2utt/uO4XwLfWpIujV7fPPpWv9++hXLr4Pe58ZAKU6+Aa4qH4wLmZtsmySTZlN2Y6QM2osWudcdCDW26dDyxXtFVMF4bXzG4uqNV7BAs+sKMXzsjVmRFwiGXENQHm8sKpT3f9YR8AvxFtl2WYSK9tYQuErigGztSpvH2HiHZfOVB5u/iqb5mBrEojyaaxxhK1KmGGYPdNxZSAN08oiFllNMqUwjw+BZxWB385zHsNRR+aarCuFc4l//sE8ROdne3k/Y8Jj1+Cw+PiepaTkEUsl2jn0KEykwOUDulpcrdKLUSKfOB1Hn0zfSh57RJX7h/CEeOxOhrU7e5ZOZkrx3G3sja9ssqIQ5Im1WZHTjqiUXbL9+rJoImRfVEr7zXAP3CwJ0ekW9JgHcZYfZOLYPanBnjntfkAWv+Zpke4ZG0N93xItnUOgr8yuH3l8FXC7b3D8+TPsC0Ixs+ubsGbT8Md/nDHzulNbTq0zu/0dYA+kNMvadivuITl4sSgCc6BuwIv5S31m39uF6TP1Ury3AA1pIrz+8iEhGnJ8Lwi2zo+d1inCH95HNGVnhhQRWuDXO3Xt9NaAXO79oK8v3qxay04iwx0ZX5pz2EzKJqXP9n0DXKMQsXG/Wo2T/483EHdi/t/VQvn2yWbYzO+0pEZ1gRYn2TBdPd/5h32oIfXTJ77hIMyZJA4yr/S+HP5+0piGp549wz15sDVMVI60L/HvFIyQKpNowLXJXXovy+/O2KVQOrjoZ6Ky9gI8krT0f5rmizVjuNwqpfhfJExGtr2L0lgR2ZwRFpMSdlmlzeHFbDqQRlj5/sF9BGpMSDfloW3UyHxpO5vE5D/5lYDlCmvHq1Ngy293d66BS/4Twl4erI1Z6mYAhzVmVgfXOIeVGOP96QIvjVtcmiP9grlz3Cr1t4H4ujzuHMSHEogmc63jSSjrccNCto/Og9oewqvBIhqgia0GsrZ3hWDamHjmAkrPTWcXqFF6TvbEbx5vTfk1nS+WjC+GvX6xKUnNw1FMloaG0NI0665bJw2TI5cpPO5wNYlZj67mM+cFyinnbJG7Kr43NFmHuS2ubV5j23fK25xIfAKQCguV6OKvDidmfKor3D8GbsfQxAoadd1zOl0eZad/VXLAaF362OEVkLbwH8rkkbRK70m8jVJoRxz7KYYEPH9PLJO77xAkf0wQuTp63k29znGWtsmlHn9nnmWVVnjxvoHegnUFEo4acrjh/MyTFGl7BDhVfzT/kLc23wFnd6b0HrkNg3VENc3QiFzBTt71TY1gcHTPV0JsbO7P4uFdz5kn2qztJt1iKXkx5/TeZhYxyKzuukx/YLe6FlYGGX8Glfp5NrHPRlrLqq5NXb7iSTRcmtndnKq6TZOPLh1lhH7z1nSS7EYn67zEVHVTleyZU6bfj+r7XOAH0KtS96S5lJMcuFDA82NRphklK2FIxXfEoFAVeNT2T33KJATRWydygZVsW1e3SPhFe/npE2xR74EVNHrcixjIHQPFX3pfWuLBjSq0yHOyRFaz5KMfRP4vob3HxfwIR6OdJR0Pu+qXd7oOC4e+/NyLl0/7avqYt9QfXv/aLUIui6Y04Pi1fb+UvHn+UCXkidGyE35TxTHfxPZfRIr3hJmJ50BOZ4pGEs6tJC49g1IYoiknU5MrKkxW35RCiDA3aUOGl4SkvIZWSxS2KOwp63QDu34VSkwWGYLDhyECtITQ1bRoaOPbyJ47u8FJaElfUEgU+5zi6Jd2yGnCBQfnoOFwq2Wg/M8VBg59xh/7mXjsK0mPNtUFgjA1yzEwf7wk93OlGzYh9xaaANsiKmnW6rB4RZKCNddqRDflilqZjlpS6Oy58soTHnDN7HWXBgE5f/bXF1KNzGBKSsIoRuWSoxqFSv/MKijwVWu+dC6nEVa9b0Yd7dTGTPrZ2vBtEJGttkvkS62RIfDwck2jMYgWJdINJmVlXYOMWx/5TFtF7wsH2+HvHTLBUP8xvMgG5ACp9JUIHSn8kt1bPmHtTWtBe+UZGI7Kxh24siwFXDvfJAt0qs6N8sMoZtLhlwJhpnm0e/YXgjQ9P7NUZxTLhB/agncjoh5srzWSmQD73c4pzFd1P9RRZXH+AyPBy4KBSqfux6Ib0EJUUYWLq0W/GslCQwmbYmWgeZwDr2MHDUcRFFtXx7stQlmQMFBE5qNAd53b/Uf6eX38R2wfwvPJEQ3w1kF1GSpWq+pbSXm9BZy6Tq+qD24q7rDul2zP43Xv12EuVBl44YJbYJlzkPQkmcly0jr9UK4GAgeFykvrZt2P/BeBfV+JZmM3Zqgyy1YykXRortqp1asges6IXLScOJhX0708DNgoBeDxhd2EYcsBp1YfZVMRwaDa0ZrUg+HdijkUyNYeC/d3RnbgG2M72/6NNaestJKlQKPjgqUtswOHDPKKD84zdy/zhKfPQFmDCxQCc0aRJFLJJ7fsn/W70ZWo4lPwU0WedGE2KOfjWdl5x1F02LLuWlAki1hl2AmmqYxtkRF1D6v3bKXXtSQGzpU6n30t8i/Xlc8dx8HeBIKoxXJxB7E/5Yge39C+J1tjn9tZQxHQgmP58EsKwSlnR1enXgBTWKjcdQ5D1PUVFWQ/BF53kz5IvVBI7EQ0xeK2AZ5pk7cqedhtcK12eoKhRdATGI276/ZT5EtjmfcI+YgjhwYMorwPvw9EUgAr5Hi9YiZACzkUEnHIu55Z/3KxVr2/xkWEOUKwNM233KC2DwH8WXacscggOi7h4Co0Tbvi0tA1X2+GkSVHlH/YgyH6XGcLktYT9WXUetK/NmmcSDdvGuplorjSpCU1dK8RjfSGN1RvmLguHxe79OIAvu/u6remF4+08R03DN7lrH70ktTpUp/fYx/KYoGPe26sKuwsPK8tI9CAcO5HdPATcn4NjD8IEOgzsuqrWYEtGGEB2p4nk92by9Qwnr9C2kuHFBx8bjqb2gt8cwOqeePnQFkDY63oaNYWTc8Ho2XB99anw+NRFtzwpLcmbWrDkuDPh0k4YUSqx6BWbCfsO8fSi8bnWHsxSXpODJR4Sxz49306n/7WS02/qHLYy7wDxJffVengaMzReKrcDDnKFznZGfGfpuuhHl0E3Y5hfwSjVSnK3+M3PVmwXOVhqW8ggn/HXaJPIhHyE+BQgMS92j1o5SkgPDQ9tlGAdoMWy1a70QhZDnTBRFU5lHD+GtcS3R4o/rlWlYW1zLBfTAwv8Xk5i1bugL/MQrov9PkL8nxFwl5BbBOiFRIo7N8uBIyYry3RzCUXfBMn4IvmvgjAdVJc+r7vaFMKuZBlzKoE7VdLtBZUWpt07e2mlaF/uk3U0yuqGcCye+tG/gu/S3678RoxJRVLx8f/lX1G68EWLI7a4H2Bf2bcNzuDoiAzM8O4QBfBifwSt4eDC62tqHKPDsPYHTfi8GT5nnL2UALpHRb83LahyDSXRQVeGB0Z8Sm2WOm7uCS8rUZeg2K7mtzKUvkqwbtgNF+s7p6EB+xAuSAuL3+LOsUfOl3vq1gsdsvusrHDts2+DxgQn/KyRXwtoFlIABhA7iSCEKmDNaYqQOpIGPKerHjxUW4QkHxP+YhV7OKXgC0Fc8Juv/KeaBzxjt2V/6OklRCsfAVA7sH+5/4O0m4lnFnjokSTGqUveDMTZ3TCKpTlwb1YdA0TBfbPvlInlxiDHpvEF/CKEb790K6CtHKyql867Kjnk6LEE++/m81cE1o20aX2xz4JcjouZYQt7CwUsuN1xlz3Mg+LdnG1epZm9+r+wB2sLGH6Fd7cy1SOIotCSbZVVDhEWdKaw+JONFvolLs2mkfDWycxWfYc5WnNQV89x6YgMG+9krhuEWUgKEraYO7w3/QUiigDOeSb6YH2sihxvYwmaiLQiHYr1sxi+ygJhXFL0LkvxW4Mi/H/Dt2NCpXRcdFM3cqnE0UbcItZOchNJnN7F2/RaC2KDV7bJrVi/Y0Y+R9AWCxDte18CeCl47lsqPqz4nDSajrv5QyeuLnja9ipXwbLeXbJ7cHEpopc9VgIMmJIVejlFl93neQPudfZv2Gg9yK20P41rB0n/mxCiQqmPMxyPTzPXqqWGMPeI3sf1OyMc5hNan0boRRgGH9Q43gVxLu/YswTgACsNhtXnCGIkK/8lzfp7+hjCNQy6rOyIkBlo9elG8Tl4h9lBE3ItSfmNqdtARx1bIT28ghSzswwWr9K1lQ1BVrpmgPaA5zvudNhRnTbAXEaY8kVFpglDtwxZvLv7mq9LVHKM2q5YscagiY3Z26DBa/k/yfLKlSMYRr1UI65qq8U12txkfqOCOnPXz2nCSRnVTWAHEpAjxyJYqsHR1UEshWuuaasvf0hfdsnAVMQc8/psn4eGOSG2WEO5qbEmERV08uZSM1lJKaE3BVwLTxXp2urJ2oGGTHCU3I6zX7yv13/d3ZD2XgHHaTid61xL6PA/n1polRO0Rwrj0wd0Td674yYW0OWtdScbhGRJeZD92kNlhl2q9klUbyzNfFUG6iv+ldS3rPgdGA7Z13w3gzyo2EEMtctkIbSxQBfKBlONJv6I198BWc6+Al04XohpPJzIx+NwMW2JlKv83JzIctdB21b9AZembGD/NTaSdCn50kb3ZwTCP19yqDpcuncBS7TMgtDlg2pX4s/vLMLzEDGGnBPp/bHbx2JIF1rhDz+fh6TAV727bhH/E1lNoVh70hM7T3NELdEG+dvaexXE6qWaFnDF1wgaP149DJsuxJ32v4PfsY0/Ca6S2AWfSBtdMCrAo2JmRXEChG2BruSWhLoxVjS6puvz9xl6tpUgaezOjFRySCluFQH3xad9D1PDx9Am0O1j/W+XsuNMZFaigND+TfdDSqfhSWAJ7Fn4HXP4PyPUT9fDtDSenWgWC5mNLfvfontqF2HPp1oE29tg226fOM4NU0sS2CO8xHMg46lxfHHo08FJaJwmXn4YG2SLIxd+a4dn9lA/Krg5TWkJQ0tNkoyUwEQMb+Emj9jsJsrYMoy8k4RA2KvAQBv/WB3OsgsJ4hAW1GVzmtsc2Cf/TKhAax51CJgpV2J5pw0X6rBIM1wi5yQFYEDFSW9bXDOBDBe4eBdCwWCq0R/D9+CchnD/UvlL8EaKl2taDdOnPlxcQ9FTijX9ar7VdSWHO3O4kY826g6keSR6+oP1FNqBIWKPjWJAJzfb6zlx2K5GK3mVFSrmQ61LKlwWeIMLojekRMEnAWRRgKii55aMJcjNCv+XBokuxFVYg0Rc83pdHjQ9P4kSxlwZO3JPYMtFC4p0F349m7DP0FX2z1o8Jm0Qwwv21VY3b4pqL0GFfoa79Q68OJl1bDBVEATVw6SDFbB0ocmQq4fYIqDtcK7GTXE5A7JiFbtc0qtjf5AV/Yu72TgmfkDZk99eee3gp4JGpqeE941QITSw2yrcUcWgxAid0eQNFyH3268HIO50o9KwSnIdmaGgvalU5kaOd2KF5zwRqt10SZzDlmsqy4Ch8lY+gm/HL+84Ikp1VKq4at3F21AtbU9sPcZTuAsmNDsZyECxut25yjHttLV4/X5Xo98uKoxlmQ+K1gNh5fWmTBF2F9a2N6pr0TwV5m6SA9QnDWvBY2vRgqDcyur0YjatA26PcOFa1LdBywRfpPu8s9WQkMAdzXaCIlu7Uj52UASVoacIks+rBlO2pSm8Xkd9s48M00NFMKSNOYDbAEJCt5dn5EpEi413ANJZOuKJMiZxmox+FrRTWrJLSA/O+4/bqel9iKt031sNqmpN2cXX5H/Yy6htU7JpkGxfCfz/f9axoPYVLVkwIvqPGtIuW0mCzjMN/3FH4BocJRBWlpv9iWFzsYWfcZnxuFQgqynon2+wAGZUsGMmn/qc6ucAAB6WY21lp1ri9bTFaA9LngUwrJXz7NkYYbSntP/d6m0EICfAItsOzoBjkmiybxp4u2mW8JX+BEf+wkVFC2G3b8KJbidxMCQ4mRru27NnMkOgV/bqyXFuZfGM45AU2MbL3eYeVd2IFIPaLSr6u1aFv9q6jmb0LlErbZewLzRo+B4wCbpRrLA/Ifw6SFzlSgRNlmrNzIekGE0yAFs2Q/M5xg0eSontzdzihzwe0M/EKkRrLOn+velnKFsQM7dAKahjKjD8uiR1PmF+tO//cqvQ9ilk+I0RjY/QtPhnRJdw1Zi6wfHsQy7haPyLGnIqbOyaPzW7AIdOnsF7yvMsHVmYgA827Lg0c/e9pU6aCWUoVGFD5+i1yP3pNO/m5EgeGWLoxujaqe1yX0luWJWsEQ9n1hsYihheKSe3t6aJL8iiIOkieVg/FI9YPqB8mMtP+oRlLWOUkcUhEwh47b+MpSzqD4et0pId6xE+B7+Yua5qtJkb4QFlLsyuvokL0MVE8K9U0l1KQzBqT/KtH4mB24Zr8c/pmAfIqsvqp4cAw+7ZsUxTvSMTJZAxBB5Jmp+CnXsVhG0U/7Q2Cf/6mVE1S/iTH7I2AHeTtpKA47pGIneTqUYVspMHWaC87p/M/o1dy8iN02AfwlJn6QaP8w0AVh5Dd3rJFHtVSmvdNO9gR03Xv19GGzfJF+1mdB6TvAuAnWzLIl6fR7wEa/iZ4n+gtUF5YnNnsLWLBRZqF1EUcCCdGmyvUl3eRw01CnIucY69nDY++xfeF/ksq5u5C0WoVL7kwVv0cZs1yDj3JuEP5soFi2BfxH4YqTA/IqmcHmnxMdDbY2Kh/GkOUN1E/Wh2fLGK2KoIWSgQnMO8RYHkSQnRkkLNLtU7A/LS6oIL181iJ4lpDZaleZyeO6pVRMbj0L67F/gwQY/K0+YDAk2d5XOrz5x/S8f37wwbAACC3Fz4eDrnvtyN+uudfvGUPeAn5r8cH9f8nYSB9JAWCSXp9Ru9Mm0exwl+lW4FNdzpjNUgk2qCsWY7u4F0eCOUQQ1C5oExxWG0Dp0WBH/lAlUek9C/zaGvPOR47tgi4o9DdMHo5VH8aJ/wq/L9+FmG9gch2t+Y5WVfLrwdSwSAqHl4NxAIXbM3ZT2WBxxRgW45MOr5l/Vy0XL2oN1tBEWi7AprXh/UNFfXVimcqJw3HacTSn9F85AxQzM4jAjZcTgOwzsaDesLue7Dzd1I4aNpodv0gZIveLaJTsJb7Fk7225y0LCXLylAGiXep8DgHtFdWjGnkjZTcwJHGjQFr6bkgG3lt5vLBYTfOcQp/LtEEBEedxboV+Vbr5CZlHNkdvH+cWweXwcpIGbM4+P4gJ2yueJCPnA201axwaGOoEf5gxmRvpSMwZNXHHAirlSAneNakUqU7fVv+/Ff7o4t31KR8VAsql7MgbwTYf4nYNYc1ax+fzwEy/4fshsYiG1XezgFeKhflDOLUy4WdTw/mcqTR3vmXwVuIxT0Je3E72hpRWXZVehsi03ENxOOXEyIu4ArqUE40Rx8eWIzDEyCk3A+XRqmQA6JVBRF0nYsKvjlYgYttiTzVWv3bF0UlA1QI+bnIN3275cZM1SZhz2k3RTnpHx7sShjEmBjBarcX01YTenZZdkO0TMzETbBFYlSiuNUBRvHv0Gez9maOLUcdAgLrIPY0TpGjpMemBnYB/0a7sHnikJMplUo+prnSvKCaU3QLn3syVVjk00sHpbyOdT+86jYpS82xiyAPjkHLy37JrWw0t324OzoBS5xNeIvx603HUHL2ft4E8WtUtAkS6Y/kX5ijXKhrpmv2lLJdvFbjUSz0+Ye6FlmGaNJ5N3ANS5ksI5K7kJme+OSI7xpXBEZ5c/8QA/w2+fdfNFj43e/r/IadXCa+5sNaCywVvyOaD75UNJmOttv2VirZbOFoKX1bcSty0+vo6hP1fpeXJe/7ighXqEA5gf3klIOyC0+d2EO6HYhlGmBjtfwuf1zSYt9qhWlIUiJPcEh3RkJ/sVfHLLDCMWlOvwPSeMEG0raYIcSPQgoQ5r8kiCb0nHZG0htO4/Zs/iADVonwnth9NFSrhNYea5VL/64quTITPngCUEB6E/wgfTSK0SyvXGzXpddZgxKXMqMG34Nw0Ugp2Wj8sSLF0tcv7ieFz9rKwzdZEUkSmkV73RKThbw8zqnNCd1I857TT20Fj54K8WP1R0lVn06tLao3zipNUFjXBB8DpXzKgpmBfvY9Hk0iCldTPm2T+ZhG3TWQb303iYI1Y8kX0Sd3e6iYLGaVuLmwRcmkmNFMjDwqT1rl8QksXvns1tqai0LYfq1YZr6VxTR2gD0m5/GrkbG6y3orwYhde2kCmIahNn4blMNv3cdnJqZlwAAvWAsMMimBGy+pe6bxCLNf9Ysp+qHEcQ6CLO3Yf35/Ou3EKrqOWvg8SlL7nTQ4GROFZGgkR/63XhghZIOo7wCngUk/5Ykf2JI3Q5qSKtC+lwcYGvg1IGlOajlSx3BZuA6r14Cro/WeJcNaRSAT4ugyzcrHwdwKDjb5+6UK+bvGYTUi0Gmzz9PJMjbkRPgr2tZ7xlO+TSC5EIcmy1MlKzOHZBjEJyM2t+FcfZZSVaJVmBzjtWTAo7YYymvibUULQ4+9qw6BL7v+o8KEv++Da3+VTE72xYWUV+g5c8IsjeIn220CNHh4m1rGr5W18/bNuiBUsKhgjjnys3SCR5+Z9UOxu4CpYPsXE8Z39mjBEKwPAA4xWOwc9HS84+pdiBjI9Hwg8knJcLPal2IgBrZJL2MK5yAnxh1uEuCVC+/ffNJwF3rflTnnnXHrbGAgNhLPSr9KwWfW73Z4EauIQ5C5+f+sM8CBWP+5BDJt5RtIqDOZKRbDl1hR+qOFZEv1xpbIV90UcHKAohok9kwAo+vY+yTxaSS13m0+409ux1lmGuKSVGc88hPwQEikT1pBNoJD1DxeidVuFbW7I8if1eCJTFj1GZtZV8ct5DTMYzAmhBt9rqrSc6y1K2h1xs2kxeifzaRIFiCjnrxYk/4ppH2VjsAjQxK3m1n+hrkpIItB5ZYknRPgS+P4p4fCn0KSYYE1PHVR44ldHbM0gICmT8zK3f8pI2c3ZvxJ8QZM2rgFAvz4unBQ/GKkZX03VkQfeOeG/7J6lCPZ8TmNUy/BfLwveF5naSwEExP2RmfjmG8kNqhElOGj4CylQRqVj0GqMbAGxffCTFHZ77hY6XeEKvNylL6sV9dK4NAkJCzoft0Q6IKGKyebt+2JOXIXunDxY3f09WU6jaO5/RoEzpS2G8o5y2E5di9wH4q6ypg3V5SGFBwxEgN5V/EBWNZJ9WZveCUshVNrMK2OYYCD8K0kbsTv7l+3vOPuZF3phcK/BS1WGo+dOd6u3uKx4Nsfxyeu8IToFC89w645s4pzILlvT3pnX/z3EvKizidrb9rXM0A2S8nJGrj8JZgYUdcFa/Of5G3V2fQiSxecCnafSyZBzENjROPsGIDTboh5joKu7UXXHsgCfYrDQISOuKxNgulo0i7prQAyr8vU7pjLrt2rX9ifV0LX6B5TXzqLQScYcNIfeAw8oDW0XBdn8NYKpr738E01fLSreL2ChBdoSBZCIpkmP5/It60VFjNwsA9U2UzSavTdOg7KpFnQGsOssxiCN0xeA0RmYehWfHVQ7/snjvSS1iHwIHtSfehRYGfxkUAJAUwRfHHp0l2DZgLXgZXwDGk3/MAm7CRAe91uhSyDLzXR5bKPRl8OQ0ZY1/EDW/W+KypjXUTYF2m/o1g429d7yBs8GEBogHi6Wsvx7pYlt2T0RvPMPpU0exRU7wzPnYav5Ue4bWzRRCFbs7xQ5cVMQKLSKMzKMe7rWPeEF3Z6/0bYP7Dlh/1BNYlpTJ//t0lYY1yvl04JCJdVqu7IzDIG0zFb9vct9dMsKuT8fXZw1Sc64q/V2lsnDIGnHD1zXOJoNmh5cORZa8hBc73THUp0VqPGMF38oK+Tx2nvA/zKeHuQP0THOF0K6JyGIPDmF9Xt6L5wrAJXXEyQJ20AtXZeT8Cb6eBcINSGid8DbEfEcZjR5G59RpZJCXVN5eqIVgh46xnewzgm8se1/+GPexGGwXzaCneIEgK/brX6Cm3926g5C9TUM6pFWpRzofHjQwZaqb11kwgi4U//iUmFCUtjsNseX1GXeS3qLLzjfflhVyhlQ+IuxvAwZBRanyK2OAc/3zyZ0fPFASDa7lVeeg9UsdORbzA/ASeCGUmkxGVkdriIdQgQg8CEe43R4bu2OrDz3Bj/MWCUWY2EgJ7N/pIArdGpX116LrAbff4nEIjwaPy5thKTzdxYTZN8FjDP2eVjtUOA1KEolbrh8G2WD/ERI+CZAq29zIFt3sowd6u4EH0urxyIIvi34suoBXC9mBL+WSOepW1JBjCTOI1nrvKgHbWk0cQSPEKOK4V+Uu4p41whsq6To/K95jjIB6RhTy0Z10gKl3io2UWA5+LNmcHkbR0YNBXG3qPP68occB5WHEOgjM9+64iTFz7F4Ro2LpsjCA6TumLBRGncuh/p9MWYgdunEh/YcVKBBmzeb1XtydczmkXZvSr+jR561ijLBi3jGp+Ke5GUVEbm64iYdQ/dStTGW2bjBPDgwqHlnTZUFTwaYSCTOzVrCHm4QmxsdcGxw+8bU3IfeoIoBMSHKSyMSub4GkZjC8PgjWNbemOfBJvEJIvFDJRFVpuM+oCW2pK+quiAK2CxU6HoHG8cqQO56Mv6+PJXHtKBu6coitFP4hikhORON+6TcqnNWVQHZkX0TjMF/+UEL4ZIPQkGE67km1CdoYLziU0jP+gY/qSCd8c5vZpHEsj0b5yrRepQC5QzPVzi4QzxqFAkF1GnDM3CS4YIei1Skdzozz1XCbP3YH2FYqW6GJDIuaNHS6QeLAeKKEFjj0+kTn1EAvkJcvpVgTntw21Bc7luKoKDFhQ+oxWrVVSRcyQhce8LlY29ffJhglAIKRiTgoivaKwQc0swMvs05UJ111RNXh5vOPyv1yo5OEZ7Au0md7TQGqgFx+wkeT7q5gXd95bWLyYOaUAYrU3HnPOq+diqc5fZBbcA29QYbLguZYVHqHtY7jhrOCETsQBod1+jtt3qdjxsQtN5PMaYMsCNXeK9ldhOANoxQqTVZ/WIToZKojF/iaIoT/5pnRNlYZOvnlWMEarJXF4Px1IW6/JxzCXfZqkh69K68+AeHV1yIrVIGJFL972a/AKokeyrKuYR9A5nRhdyhO8Irv/I04yXlaxkDPJ0EIFmBPt37wgMM0x3N+TmzNaF4lsFZs5QA8lABLPAMSDyYm4ZtWkuEZnqQI6cIlON3BDztSSIKiED8Viq68Ekh4J014AixtKqm2bZ7nAiBAITIuOwdNyLF/I75NRYHZ01e9pNn0Qc3T2YlVMnQi879HdlcjxeH+Ug3Zn+oOPp4B4DIa+O+ztuUtd14+fbuEKzWlvC7xSY5TJQcQkzfX1xVwbEl6CnWn8fZLsIxvTCMiXBjsmtQM6eoWdUrZlgtANKEOBGmHg5w27g1muK1au6X3jpPMHwn3GFHNSF0jeH9FVzk7zBNg2DMZFOzttXa9pMhttzMv2tbNHmlVz4TuTOklsFvoONkwvHr0y3EvQgSbcvpVvHpsDPFtY9HVxTnouirzJO1EoKD3BqRcaQ9Ze5ujPqoW6DBuLIhBqNENWzUVsKQR9GpI9/osGDJZrEy4gCwzdtnPKsLeZHQACEdVfBQThvvlbt6BnmrQuv71vRLsflf0E6JeVlaFVHw9qIKXTaPYJ+iByZIv1ecx8YE+lsICUa3koAIDBr44aElXlh6pEgYyGsobQ+W2eH7Oo1T/ZNfc51Vu0eAFh2y3tjXl+nuGeJ0IBSu92c/4Zbw1+TLpsDx9yBU1zCH8jl+QmMcnuWQXRQyasW10GGy65itDfOd4YNorJZT1TvabGouiGFrPOYetLZqKgPXeGH9fHpe13RMo33/gaoa88fq8M+JwL14EJT/Cih1CA6o1r9SdHr0f2qlyj7OjK3sMfZBweoAc3GUSsZOzieDYbB4JYcm06g2F3HpyJ10jv2Jd0WcYS5JwTlQZQhEyAOFj7uMZrkRSOoXfLBBf/w1G5+JkZN2PtEKtP+HPnam1dFiDjItHoTL+osls9DxdNvtfM7wEwHW7s93H4WjCd2/1a5WQamFi5QJh6t1jnER0Q3dCQDOAOiQXYiBa5GBDUYwrpBm+yxu/QrcLLBqDgLCu8lQpHmpE2pO+hytgu1JibJDhRwXEYOdV+/7ISPZCWmluma/XMk+av6L804eygbyFMZq3WF2wT5DTntzK5EqFugswwcDHQybZiYDlt1EO0BmXbxVhbD+M1u9Q7nbobEdKITffHi7O37shwNTuZvlbT9xjdYXWLlZ3KJT1frU+vsgSbZfmifGwxn+pj2qRcFh9dbfLKK1NL0tZuvLx+HWNF6iMu9karM4eigoe63ABwKvAuIy2XalX5s0/4cRXOuohKMtZVYeV0wPUsN/TZB8u20uXh7BkF3l9Gtqbss+RtvQu2TqD2H4IeLWdwQhSL8Y3gtKoOVM/+Pvttz9TqGoTG2Qn8dAcPIR3Kwqd1D7bR4Srt1a9PtmhZT4d55gw54TKQ4aTPtaW+NWPTKMJLcybReR2TRmxwRXR23Qo/CfRfJNDZyt8bniDqrhUz4yHVim0d/qKI+8D9witbG9VcPTmI7abZ7nwHdMKsDYLx9qHpxZgwpql3U9cRTwsRXgyHXP0v/yEQ7t9JY7LxxBeaWnca2eF+KrCkeOXDHU5FcnP/BpP0MRQaTHPJhsCmnGCOcy724V1t+yXsTaIHnaKm42X67FZ8vM8vIPLrdVcxWIMpVSgLu6Pwc+cIYnkuO857C4ERUOivMa+VsC9L4/4kzIabYF5qwjzLZ16jU01824+68b5Iu//wQOAju9Kj2jusSMQzP9kkxjuvaeXEjJ9TgX+rC2k5uo3NGwYB1fxAUoF4Os60H5rBlKcgu5a4VzdOKgrsOy/cm+dpakIweE19zMwrLDDZdWWxO7fDXxb4CTwG70NPlPGCkqbIw/OrltdSG+XMVUPqw0I0viCAH9lJCoZkFcrmmA7oQJ6x/QiMFg1Hpxfammq2QHF+uEhRk5JCNpVvYmZUKTKJgxAxsnkk23yEHN0O+/+jfleL409kDjSyfFufC6FPYJdHe0nwtN21DRcLNxkHH16cmi7M7c3uz+6Mu90T/VKbFFlbqGxKQHU7k3cKlQRaaCAYYiP+QVWyuF/LMH4+f2jnbxEzyNQSe+RRWPTj9y+OVjKPwF/QThTWSiJkrMasM5PKp6wjQEniyOpkTlXuXzea2csaU9C7fV0uch0io9vo3uy9y+kRAkiZKQoA9Yo3tXWQk8YxWKwqSaqtr7FAomwuLgmQzullNFhkKNRPU5xcN7Kq7CqkDFxdYb5JxFTkRQbhcrYiX11BpDx6NMkeIyPgLfzEhsNq15vYNsYpJS52YsEvDbju36myz9NlEIwYlZQoV3ct882L9JvtToYzsv2UcBhLA0Qv6HJNC6l+C6zGcIUgDUbFVoaT1cW0YQba331+TGNfMo8Mt+l0T2EmuKf9+VSLCamjoUjwUP7WkithVb23XHsAVippXJGnSJeRoJ8XdspT6NhjW9v2YhQ91KVlnNwAxyK0sO1G+Pv1qGlDCQBUvCxH3Or1n1LjxR5T/KHzyBDwzWn6NFPzwgmAcUKd6nYYbqjduzVIS2ZU6Te7d6RWt1NnPK5trP/g7/bEivWKDupOzyX/try3RSupDA/+pZQ35LRZAScA68pvP6B4pTkbhQC8wahvuU6/3nRnjcehbtTIt+KrBg8gC8VpaDXJ20eB7/x8LXksuTEQAHdr1jWvv6/dEFq6JdOU0dZNO3vhfrxnKEIgrwQhsBYNd5AjBcAPpbXnEwAEqjX6VHJ9cTpGwoHUylh5bcDSYJTHF3RnpbZDkTKm0oPPbShM3beQJAvdMdUrws1SL8/tP+CJ49H8nHy+6iCc/ikMM8RmcXKco+aGodjscruR200f/BY0SRJSn84AZdwa1mTNIiJV0QjubnFxIDKGSpufPlwzRVye4LvHe4J2f4MwfAamNRImYh5VXXdLW3anGRAuHCoJD5ry2AMlBrUlOTbcGTGK+iGBnJcGB8M+zTerowgnry9L1WkmmLhBGDFC9f0QlXRpa7rUVAUH92lwo6dakhLB99QhB95JtWcpRVwv3wNniOGf0ePaVz93AfwsvNIZ5mqU3NlAMPXV7sxb3517Kjsx79tjaNSRh4QBUZ2wz773zL3MOSTDGbnBlOx1r5jIe9Bv6HoG/0w7+GjHqGe9Ey2fWpDjBliKiv6I7nXJP1Oaz08TuNXXhI5HfbaNzc8OLXRi1wpWi038pbqrqlIgGNsu7cL4/kOiomG49EheSNIjPksnbWxFFolu5GHmIxfqH7bGItQsI/+oObxxQz2+5VGHv3WtTaE9whD6Xfa71qVK5D5/wPje/nK6QYw6jzYb6uYo093zFj8BRvSWwAg4oG2sXUHFXedTGQN8f9DSoB9/6A2bB/GKz9K8Abc5uqaQlB5mY2zbDc3YBqGvopUgjVqCYJo802jmSwatrlVv7gBb+vmUfzN1AcXL+T8y/J8Yx9zBBU8iuLKfY8m/rDGXiDTQU2DXBNswOCHAvuaetSWGU46jv8jE8P6uAZC31W+L/kdfg2tBsi/LJU5il0/6dbS9PrQhSSUgilhTpnN9mJlr2ssIsxV19nzI6sSJik39yr86IZHchoU8x0lb+FN3c0uep+1vuQR6T12En0OwSVXhCTDHneGkJ/xpORzyRkuScLgXBB4x5TVHps0NHLIt24tJO/w+UUVlftk5kVbeOwnFK5ja6QSFy8Q53vJJQAiYDj1BdibWakdOkIO2U/QdwTJrF+PvpV7zIooO93UlZ6PYPqcG0mD8QBCPUvoKri56q8W/Ec5MzZo9hsMdDDTFP6SGr3AuIE9TDTX3LvBFwiR4WWAcNdGyVH0HVi1JqHgba6q2lfGNbpyVE76KFflWTyjTb424OSw106FJYNokam5c8GtMc1cQnge1vQZ5MwY9Oz4OPDD6lsfvudAKE5PmYlGioqRLwCToueHlZxLhkWc+4c4wjk5Q8Z+z5yU4uFBZEjvc7hjnkU1ugtoMAoj8JgKkh6Zutc+1fzJ2LqSrmHcXcKvtH9CZz3C8t1KkdLOoc9q66x1OjgTAiAZ+HrhRNiFF6CYAqXfbKXY3ipRGGyFmT6N0qucMkELwnvufhJtgyXCL4NQ51wEeDxgQtJtciFgEFMbTrXp0rsoMDtd12FFF7x2JYhm/5c0bxksqL3pfPO/zQzdM09FDo0M9qQaSDc63TanR3gBcbHmIzu3UP+kiKPkizaunp5TOmvHdm94RqBHRMms4IJG2TxTSoPtfT0Ub3+mkYB93aGt+7UScJQq0OoZbyADtjU/lmQotudNRP2/sl01WQho0Fmc3m+ulf79q7LGzGxvg3ZuKYGU9VUnDZBSvnyb4PICmj4UNsaM79Fjd9ZdxqR+mOjFhvXrpJ0ofQ7b01iOoQiMKEKJZvakYphrbkuxA92QNGINZyF+pqtnV7KCa7oLhGwG/clodW5a6n+znzbp8kbEYIhnAx6H5/XPIpKBwud6FCK/JYghoq83hWeM1KqiOaHIVuJyTl969HLeY2AGvuL/8MaOQUiCHwRv9ZVn5o3TYrGmtdOpEyPFsd2Cg77yKSc5llr4+Usyhqo7oU9w2wcHxVQcV98FyMQBlvBSll5Y/mWHeUsU1cPMuo6NlXSsON1uomUwf4xO6SyZ9eCs5T6arQLIS6YGd65JeAqx66Vlr5ZeyLDpOVvpcb5bwpbhg243ylM38i+yoy0bMRRXGyrp/nN5Dq7YB6bBkLeK2H6NaaPNz4osplBtF6HmgRBvbXxaU64qa7k+9aPtDFCbIe+mwgxMn4LN4rZv8ZcGGPnDHK4zBBjKIEKyeUkJ+RjXEXqss4kU2b/Y0fGGvQj3T31qf31GbJLMiscnKJ7haHoNB/RJ8JSwGHmS9LLhA3t6Mc9YJklzIBfkWidKOaVVS9+oSySHlO5Bn1ZVUv01VYw+bmh/Sl/oHprtOvWROJjlOVK9FvhB4bLOPol6+Tf+07xeCCwJ3QhJrINgqOT7ZPf1oigEwzLswxMK0ben/9JCR3anxoPHMiNM+8pKHHpR43AxeTW6QNFUQe5p+Cpi0dvgpxp2HN2///TqkZZfp9jTh1v39IUsDxaWTzvCtzv8uUMODT2Ypz4Tc74AC2OWTvh1ejVK6JRY/b+a5ZyXy1dpXGyYsdhJkUqpWg+fSSQbcaW23RzRkNnXZaVkrp8oU5J+j1myHfzcZ+p72rlOG6xDTvP4lSl8LcqlxeIfxs9DDTVNkjFymQAYECJ9flowzPzMmfoq+VPBiWpkuGgQbhu7IXp2VmPIxc5OxqmuBBedcp0kkj0TnA29eSTrwREUOA4p64TZRx9QNnnF6Hzsd6FnBbc0HRu+v1qJmGmJgR1IuTUVgnwaZOSBlF7ATayWku6SHhNsBDZdgK7q0VcVvNYXh9un3lLCKzsKizwWKiqoK/IJyz66T9tQCyA2RJ2df858eYZZ89eC69yp8rXfnYWWH4tsITsP3HxppnRdg7kLixilLqfBoesZU+HntaqMdAL3k+MYlCM2G+s+RVFo8BjV6SQ1CYVIZYmgkPxpCQNHsNcEo+mmhzwOpCH4lv2sTSoqRtmEUjP2th8orfIIN5ufizH6ffrjRy5RE9z6AZk5yvYV3neMq2+kPQRtF7Gq/8x8uD7OlxN0o4QeSpOKGruBX+ND8mHEpUImaCuUMGwF6xdGN23zTCcGu+E6TNsoGl+ukH8+7aC7qToDjuswdPWSTbCcmfP1VTdQWf3zCv9EeYreBeAMUf1puhTwSZkIHdzO+uQwEeRRR17ZZJqcEjyavsYtftt8SbKWHnlNWMeclmteHqBuPgKhqBQi6U9k0ZkQqvWy+eyrHyqWiqVSpar6H+ZVBoen3/F/h0EiqfQ1MXomJwkDaqzkWuvNSb7fgTRQoN4SZKHKNZie5FNqGwMtCgZhrws5RsBxSPpi7sUaifjRR2aV06Y92lBW05KxuznwqVymbnzpZ+0k+INuLYuhvRUwDRS+NWaIyP6bijmyFj+wiKoPnhi66rTZkUIA9VBwb6YCgWvtmenuZcld/7uBamn8YiRgttbadp8YfAd52SmicuIVtSR3WN7Kp2Q0txiJWkTBAr7EJR8bBcG3FbZbofXBS+5lmnNnjRGsuIYTCNmTVv5UXFqQ//GP7vJg4e4uS5/9bGTL9kGtbBePYmWkQWxyxtTwhk1HLo4pEUGyAcxmfAnsWCziwmTT64uu2DTnSsY1dl8JuswlNQhbzyvCBiUwP2PGqufq4CKLaZG2hSFDZnhWOUdaYJxfejkdXqNbaLxBIJKYgD1B8S4GTsTrcfHzl9/VeesWjfyxoxTjTS9sD49TDoqKN2m+VSClLf3f+bQ08CtZ9QOM6f+gpkz6TEZk0Jr5KmbUHqTHTkBK83N93fd0YmWinGaE+/6MJftuqpZvHk8rKG6GstnAXZRsndBqs9JvbFeByuNH0cbXbaxBsGrQH8Xgf+LmbNmG/o//oe9jRGWr6VqPi+Db9E0m0+il0znG4+UgdFYMFMC0J0bH9cpIzruLshR2VJHtudq2QXTnya1tz+4WO95YutwjzDUrYSlOqo4Z5fMDpmY6CFWqEZIxpUmGZLrx97ckxJoz4cozzUvr93Oyunyht0XQNxLaAI64KmDcFKU93SOSI2vk+rfrcsigOgaGRrvM3pA97JIRRklLwBGW18L9fhcSgYxO6LvRIvqKkkcYQIX42wVwaaP6eh7a7XKkd2AC7khKk8k+YG0l0uyoDTofWpt1xtpIOspgfqWqldJ3E8fB5/f9BXR7v5Sikw0+W/CUK4PVE0/ElBFs0ga1hAU5i2mr+NRqJpSE4TeOUNZtQ5qIJ0n647+DfZubEDv3u0HeCwFV1XprjLqWKgTOH7l5ey3GmvqQpq7x6ZoBF9o9/fTkXrXYd+i9u/2WWCRw8b5MPixbC45fDBTdyM0ktrpmtaiTfynN578sI5i5QWqKMER8YfJU2JohwNeTI872+0cTn84uJYfm/X29EpK3c6odDk6uvBPAZKCev9lKqt+6wJb0bVf73uUZvPP8U7FbxZ5P5Temqp9Wsdde3/j0EzJCF4NbgggwufEBcqjx+o0gnGdLq6KYzP59JCRRblHnpxTQdncMn+ZA4yozGdoqeX8PyDbySQBpji+sdh0ozdhO2thXKZO4E2NQqWBj/ep2JAuk/DcqkTs28QjkbYwsR8SrLZXPLW4QOPC81eQbdsngXsJZn+GZ0obJCHLnoj1g0nPo8x7OFG/KWzkL0UyUjXDDPXLVMXlAhvS0h1slZdwB1htIGdBY8blSHpL/uSnr7J8sJTig5m/20YpeL0aPPCEZhkw8QXN3Wl+ilavpEwq8VBz67u+DWXOB57rSaSBYQ/lLylK2EuXP0NEo58w9sYPP9evti/MBk7SndztkGg/if0JQh3D6Dk7EcLp4i2RTiPV0n0slWgijU+wUCDZGcLkv9Rpt8zZ96ocXlSgGGwIAz+dXQOl7lZm1Q0J0SH1OIlqRg4EyLbBzXRnDA0+SwA1v1m94HABoSgrhDUWaSkw/tm3G2qB0OV1c8WCKV1mC72YuFEdmsLZsviomgbEAcfpAG9h6eaBTFJ2NEPr8IFNazL+V6znbSHqgYdnFkFtr/qNQ2VdNHyGMU4DIlxmvirsSu34MzrovmCyeThm8d4qmvhw1fl4IVdiM1iSbF59uhord2c/SuvNY+EM0PyBVub1YPUwIh2s+X63BPGXbZ6o1seNubsXNbuG+a55URSAzQwMb2Hyc7Z36lqtV61HTx1OO5CP8pPAOnLlx7yE1vY0HO3B3uegNP2DbGXCu2yVw0jc8Po4kB3CZttfPeM/kNMrdeVTQYiXZ/slPiTdj0Uz+y6ggy39sg8iYxZDlVkuT6/R9W/ryighbNpzdWoHqKY7qAuN89V1S+ru/5FSP1Q0P+mJufR3KIfuQBB3ZF19yuFu2Sm+YqitPl1BQi8IyRvqebah6d4s7PDjyOLsG89Cwi4BQYArLjNglnJ6jKP0JKa6HOLynbCNztJYlgI8i+n48O2WYT1ocWM/D2ZP7JTRNw0RiMSPjWXlOdn/ZWNilLkIc+6WeI6WIHXB2I3UILkZTMpqQDDitQfw16NGNXhWIO3C1FdqG8EISZSYfSdBBOflY/qrhyv/LQ8RSOhhPTxrX5L/odqnQQpdEXPiX/s/GiYhoxUOdDwOpbKam4RNpUaNyladMmsz3CBMjZ9aQ2Gu55uDm+SKfvDOX7yeeghcSBIwCvxohB7laqPrPbmHRUEaGwG2W1y4uDIU9xCyQav9zEYBSABpk/NNSRa2Gsi/rZRmWChD8rlEAYNRPlSO5xEvWK9yzByAwlrTdpA7bPf3R8JctZ70FtRdWnK/ArI6biY81RP/YuWJHQwLaftv0jXQY2lWbsJ6QbpIWIFhLJA9EwNItNcbUwo5L1KfTzgqy/5ew40pfOSW7n4Mt6nU/B6cbXYUXG+HyIBDbDVwsRL/0VjMvAsMqGczWORXgaR7GwA0jWS2ZUYZI9iSIJROMURHuoIhGoI9yX1wX36YLh5eiSQ17vKtlUZ1t4YcagzQ3k7crZsm8NMdlR32HTeaO7FlYLz1pVHIqwTMthND6NfMvyJWvMqCynQvv9+Pn5idEVk5l/AQhcj4g04oRW04hV/7gG166n+dK5AQfIr9QxChYnY2CimBNfTyejyExYADJkBPghLJipkR98kglZkno8Hi8Xh6ErbYF1TSjGib0cbSXzo00ZFwsmQ1QI7swDgexqnvi2LcZ8ZR9FFq/Pbqp91rmh+JbnLx4CbRCOZRVsvGQhdmpndmonfNI8xHN2flaJAgBC7S459354CVngktaojSyM3ZfZneK6jEi5IQoH2zZtaA3BX87vYwI21oqsV9n/F0Ns2ppNFNJ+A7Qu/HV5x2DFxXk0slKo8N9cZBmU7gDDL1iBLw+e23fPl1jZ5+t4dD7QNuLY7KDBU3NbwgUolqgkrv3G2tNqcl4IhCBSNxKcUF3v7rDVHywQOCTHEJwN4Pf1R6Sa7AFM1sQNlHsjDxSw2kj4/chDO04UC4Q04qQVyVz3UtWWgnU3ATYsf/rc1aWGjPZmELoKdo7XqsnFwl8gkfVCmGjYlchK0ZRa5uhK8liM6sxQNQV2GTQPEY5cr7fI/qSw2XBu+hkh8p84qRaSpebN9t9Z/OwmlJ135xE8zVE9pHPiyDlzZEBoTxU2XcfmnU358G164kxrASHyZa7h6OogqK7Rs8rM+qsJx7c4b311ajhwCX6f+Sbb9gS6DY837KArcCdIPBzvE4v7S3Op5KUu9O/S1ncNQO6hK3x6uc9Wl8qsZ5FgawOqlEy+js3fsVhcmVqLT1HZJr3cjWgpPL7GXulvnvEqKn+COidr/Yb0AYqrn6tyglqvnXyzWu0AgRIkeUgn7I1yOZuW+roOXaQkKyOfD7P9vWcwsblccTSMUNAi+onL18QLtulMtWaUHRbS8g0vwW4PDwxHFCgdTPYxzEXvU3RrEySqOfpmnxIoFN7B4kww6OXBTiS+SbrfINA6MOt7aN7Q7azf15wgQGZpXIpu4fcOIq17z1ji7OzR/JfnKvrnX7t/7FBvrsFBYON6BuonehQpePzW6pkYOox1PnHuNwVuP3QS+2wSZS/JaVdwIoi0KamYw701nywqY75GaLYBpFjYkudfYzPTTEm9tQj82867Mdm0qOOSmzyAbuURiUjq1AKo8IDxUncRU04O+KuCygDfeWLQ97RI3sKc4MX8Cl9X31WFjBHuw5GL4JPLOX4/WGnwJx1Ezm3bpDEHjkhmo4r/M7oweJH8siZevvvhFIuppIofvT0nXJU0TeWihs4MxlcXQ+vUgUmkQak5bHbqP6fRBFzIqsTgEzskkgSorOgq1QZxK1DYvXZ1yI5bxWukKkiVuZ+gTSXF2D2iDgw+HPiyaKeXHpjCjDfQHDp2JN/kJ3xCvONn9lyxva1UfnFLAJO3A3rRD5A8mHT3UiBA3KPyCUuTHs6y664ttQpvQ8Ic6WIITrelNsZy3RJZByFz7x+N9ICndfzqUDuvvdzdkSvUXNi1eAnPguY4fRAo0qtJWG8ILPweEJ8C+QrxDN+GvDc4kTCeY361yCepO+dBZhWmnaxW0gFNhTQZQXR6LVqHqYgEUZdz0bqPaZ/ofYY2rfr4+aHU0Nw6sxW/RYX7qdgB4untfbOs504VUe3cwY2ao1FNfycHCCbyNQPR61DovNkcfSFdLclPFVZHwsWcqHX3cafTQ23FCcKEay6Rg3ScpknGVBgbr3Jnu4ak6oGQz/0nQMWDrqNIZh8Y5jtVEqWBUdMJ14rrmFwOCylzRkgDe6fEAycJkU8j3bGVyrtzwpzA+v0CAR6AFQXAe4v7mAXPuwwsbE/ZzzolNqofcZLwhaDaxd44JCckaoAas1ssQL4FhQF95VzaKGWnKOitjNt5v+9jdTbuQ5S5XaD1toN4sOgZsrbO2g8HEtVHCGyYdP7ZVuLCiPn1UXlO5uzW7v7/vGtoEP9uDDVQatkwiE6T1txbSh31cTwtdmltL+9yv1b5GAjSFiNkpMBAmARqzwHoZTA14Fz6buJENmiPFN7g3k6NBkQMJn1sL6yia9WKV1mOUUC185Brs5XCbnRAPi8SYq6Uh11cgVnOs6BgNe39FhmYnnDviDbFbnwdMe6onHudXdqZvvDFZvgzIVdl+PCH9Lyz5QN3mq+CXxB1Im650nZ2BxpQGD6yBTQ/LwpzlrXOcdHmztxceaOqRLl1OGmDqM9UhDuTv4mZS0aSlRFx8koL1/GWd0GjZpSSDVQe9P4tbY+vCkvZyk4x0rhkPUgZwl8haOB/DrL7W3288hoiDDpdi6+SFIZFHGx3a3GcfAFE8LACB7uWojQFA7aXk/o7s+8KSGO4MPkc8nLevLDGtF3AS+wMG9PqhiVmA4a78QFEvQW2nWNcGT5aorEduXKTy/lC2XSkfVAY2VUgqm6S0fjxzmGhXZtadj8qxc2FR8bIP/kKDeB0DRd1/18rNKbWNwPhcuk3y0hWaSuk4Mbe10enrts7+LsEPnuXJ93AcJWxeMgnlyIsyVfsXWYn8w7X++ppSeGS4Tw9vg6Qq+6M5VYSYN0hJN7S6zhRRUcnSHOXb5N4lhGAPUMDWKu9qPust+p+XHb76D5VGA6VU3PGUHT6Nye9m1C+nVLOtlRuWi6VfU5TrRSBA6GO4HbK9H9vyBDzcpN9bLqVQvrhDCrQCvzzcZ/KkG2pFfe7J+o/38TP1x6lxnc1mThnG4xQKFgD5EslzIqbt4Cagy7Yot8Csu/jUvsYOytPxfGi6TbvPVriFoBVal6mfk9VclBR8FKfJhH12fF6X8DGpZc6hn1SBee6kw2F0w7uNnSL5uxoNBVpaN86Lyv+i+yTncMSMCuGk7ZAbcv3V+OOBefHSPz296mfxR0a5DWHt26Itc61vcH0A3QcFk1dC4tiFTx6d/h6CU1Etdnw4oirQhweoLfXAPtPQZ0K+xKAhqu7KuUOR/O14DfgfFVFzw739oiY5qLWb1mf8xXoZCxYQC3/rdGw7uDRnlrt+O6M+Qhny/tryvanuDeAaepys7mikbAnmH62Hg+r9swItZmzHdfO6Vb96JnlAupTlB8t1CaxUeDAUnB0N+gjVbcoYttl74coxurmYCk/Rgz4IfVuenJphPqaGA3bLIbTu88UDCFx7dCDqH6c1QhfKDKa0JuT4U38mpVHY28HyJETDqvRu5rOjhhM465qQ4+bQZpZJSyDacIOYOU9iITCm3GqjSScX375MIZi8u82Cs+eJkpa7Z9GjooHWlIV6pMnrFdpCF0j52O5vhEVco9P23Ki0/vgW9y5FSncaTX91mq1VI1ScFweSFimyM6OwzOmpgw42tdjtKNOYjQ/C3wwnEI2VBCGUL7qVir7iZc8RA1SRd7NvWjvbBYfC4iG/c1TLZIF7Xxu8eMw/JcqGDgJAHJkXdeIM+FDaiKh+aqcgMpOU4tBRRGg9UTuYNerS5iqCM7PGHgwIKJUMYEU1EqR3qM1HvDWmqDIglB00A+MxNsoMDARZeebSJqOQiagLnZm3Wnr+S8rmpEAAxVU6+qo1Z9LcK0cEPHeJnvg6BmIfUNfKQP4AwbwN1hNQB8/d2EBnyni7cYg6DQH+scBnUDMGmTUqmnVUtJcyykFgZNbGNpy/sJfP9p3M536zaQfkwibtwrizl/iN8FPckZb+Up2dHhHjajDGBxARKbnPG9G37/04PIY4cJdyuuB0KI99S+xRqypLjmsukbLyjhwF1BmO9szK3XpjY+sL2wZAHCuTYBit73GeJIaWgSa8VAU1iSMUDLXM09JtFCxNMbpUr+0bDeBZTo4D1hWpr00YlebmoSCJTC+QnaRgVBe9F5GQjyq+DlKhWXopaw8Ux4wmxlGT2ACgNbwh3DVLQh7cwYqvxaSO1aBqFuGIpWkwqs/1XaCNyxSGcelHCg0Hj1owQTQtVxwPvQoedCJem5DctWIzDDqSFFrZtaJBzZx4/DGx5FXxPT0lFnijhXuFgDBk8i9bS5nQDAE5I2ix0XK7DBzIh3uk8WwoR6zTQDpFo6v5ohH3xvIKYxz1/6zcDL56Q9z+1VmdzhNgoWaIczOcYfeqAHcRDz2i6y0YviQtnh8FZdIKBSHgUykFAVYBpPCZqPN/7MLwxi9qrfthBji9FA4NEZFOtq4/APQ8GEW4XLYO7kSmIDCT4YBl+DlkjuD6oqyuEveptzVmXO7WAsEb00BW0yYO9tohsBF3wCtOCcBf/YnduL2X8YiwtvaOxOw7QLAXkIx0I5lRhuXEBhU5yfb9Bi7JSQQgPjR81CsQCUEw/UMlJTwDUF2iM1HVQryzGwqwpv8xAB2HZta6b/nPsGF26kvg0g4iEi6TaZgNNfEaBXPNzrqQl3umqD/Hm8oDULLbrRgXvOs5g8WBDMUKFLbe1qVzxMOS8Tlve3lH/NXYVxlV7APEWkPkG3HdYRWO/paRG7R4zZceKov6o5kFQGOLA4WlVG073JrR9aveMz2niYcYcyGCc8Wr8IBKJ2j6Pvp/53bCQu/IESCZ+bP+O3dHtnhx9e7nikhiHmIfTXsrM+B2C8ZPFrJIqJGcxNAssZuEdyw7KeeWLHxX1EpwKq8AAlYgoH5Ow7P8abHc5Iodhe0GcUsT7W/M/0GY1DY4dxQA5S/QdZuEQwJBbK/I4P4h4WEWANLd9grGtj+ITMHGnMQhccLxzbo+ESgZ6RqMpgOPcLc5yyRKieBfvqy91al95kKftpDar4k9FHQHMt65P47PUb/ixRyRmhfdwDSW8e4azj20Up+ndL9TsZ4tQuK0pwz/tvHu3Rrwj4GoWvUBbpDksDfGKfZG+P5u9rMo1n/pmSLXm8ugov3ECF/yxFL2ht3d9egYJk4a3E2H8T1F5XCoSFxfktcZAUYluGxEgFLRcrf0xJymAeCMwYPFtRIHrZWs9HqTwQZxKGC2eJprVU3eWAbGxcXG+PJcv7O2l8E1qADXYhrUB7HXZ86NJ57DrGkuX5mwwZYUgTQTTY710kcARImsCjP5aFx3OsYImlovKMt0yhLgBDLdg3V/eGUMdLZ/gPS14I+aKM+pjRjtOEbn1IMK+Z5mHgQP6dBTjCNSnJQFw87vLoAvBTqsfZHuBkmaF9J5dLouJGGfwH8OOTBqfy4eB/VrpYHaOm8yqtkcuD+YMJ0ChWs8FzpVZn8xv649yOGmrPQl0QpLrXniHPkHxO09eE8rikjkIQW8f4EE1GkMi/JdOmabLI26CgMQoWwvJKeduFxpf4wWp86T+IwYyE0q3sZw+VhtN6EyIdWUDkeEHFSX4zca37aaHazsW7rFF66f/5xO7q05GhCTv3wB2sBcPb4V1aEGKSZl0IbFIJFTyy4Oz/iiQzZlb17tkQm5KYUk0R+/VNOnZBmeM38C1ZZaFWwUGkKiCogec3UjbTrC/Vsp7KPBpEUz3V1is6pByXsQZaC7+U5Tgmf3Cm/dWmnq9YyyQnayi/eXCFBotWI9PsHrjVGxoXTt5qekaeurbmPlA/uzBhkpq+tPPTtL6owRjBv5Vu5aQUgFQaBgxnhWkZ2P0MLTby3b6RRW8JMEKSYp5tq4SA7CcwAglShWu35/zO9U3lVk4Srd9GU6TSL+gEFLca0hJCREv/qO1HnLQg1jQnVKoDtSpxkuwI57tNLeO4LNS5bjcNL5nhsVXiJaDwGv5XM3zj8PFS+VQucn7jjjGDJ2Slr+7FwxqYV5zmqHKW33fTAEqdzincclytw9SMEzCgi3YSkAiZYJ+cuQwHSdhnGDri+/8awkdkId4UNbdoCMPHPhWJI2T4UQTH1sThjURQlzoklgsfybqzSg7fWvwMgoEmLjHQodwq4aB5fcRikyst9zZI5h04HX+eCJ43enk79L1ltRh6uOcfKn3kREuwML0URiXhVt98USfcQ2FSQm2xg0vUS74WlLl97PyOED1LKQHqFxvvbSRLxERSptP3AsdVsCHez0sqfKLntikp+1s6HZ12riQaZO5vvluQZYu6dZ9Zv0ekoZuPJtnKGSRtzJt8Fyt9zZDkC1tQ7F25xzcnDYumGgA9pVjCMOXErLFXmL7xdKIQdg6h+7nhFkauyI129bgt5XPxCjNVQk6CpQfvjzZfzrfMWM0IasG8ALV/IoBuizGSYyS4V4Sd0GPgWEi+AulakK8PLQ+50Q5HEn7AP/VvUr05OL4ZDaFrlkFDdjQXeI9VTlldH4nvpxkBtUK2yHsRPFE9YlVtVzHk14vmtpOkPGzOq07S/X7zs6k8xAnjJ8XBCANL7PMmAT+q7BeCm1zW2hXkrtlNc+UMEkrKEnOL9GtoVFPMmd2Aty5uw2MR09NIchpvYgx61Gl9GJkqrk0qEY0RoY5lpTTH4E3CAKndpiLLn3EcIKPf4mGHhrV1HqTn9/09Iywev2oqUjp9hfR1tw1+TG9eGoB8dChc2Cfznqop1N8ExWEQFVfz+h3gbL/h+Vz9BTXHbAPXYt+iGCmgv9VWjmTuUIOiYl4oxtIOba4WvNaLqCwXYY14spmrPEw9vMtS2ylpRHeGFjsVvHe9sFVkOJyhXb13W+9MnfRxOIwe/ERpRSXKcjlGtXuzhsbIS4GJLFJ5P+jbr7g9rmwQZ3uURTdAtICW498x7fTGGzntg/pnllhCbpoo/Hw2s+ykkEJm40JVY8U8EPYe5oP5k8rrUQy4Qb0WGkWbra5n9xn7C/VmNI4rp3st+INehPo8eVwMaLYT1yL5Ypm9Fgg2G2RBH7w076PvxD6FqosuISmFIVhdUHvNX+sPPVK967lX/UPWYktRepcmu2S99C6pyymh+fOTG+Tj/a2brIGYt6soEe5Vha4/pZz0tT2CyvzNwwgIMKTd7laxEGbO5cSfwO4h2zY3jaWgkeVm7hJ4t0VSxMAyeOzHuATUCr8wyE3VoGx7e8GMh/d1itQwZYHxHERBsmLgR7yS4F3cXMid3sIdy6unCotmm7ROVgN6umWqYMwOsafFOr8iDGyD+k6oM1Jvk5fDV5ximQCYl5pLQ+2PRxXjlfPTvsTK3n+Izju5ER+SVwySehxI4+U/laqqRyhf48fZx4N9pD+I6Yv2MmmMsnPIgLGzL01GqQMMRxwbLSjGdZ4w7FCZXCeTCkHMT5OCm3lAXJRP6hHLKDBYMc6mUjokOZyEj1kd5jKiyYiarnWB9vc9NSkSpgyrs8MsbEj4Y6Ifv4MBjirCELEpi+WEaw+G1tXhnWLS8seBIkid2TINFPX8GnkNN5bMDA1fKrv3jAySVfWhpZgIQdTQG/ORRE5wjGA5xoQ9N4hGo+OT0Qw2wPOUG2qU35P8dBpHtEEmRrnGTxSqzSMTpz+rc8q2lFE2Xj5waf/Y7JR6YujIUW7bbHlHXrABxvzMPB4eQV6a2BOgSLnfStGNFXpX6jSlSRf81Uad8EQOfdhWsp0WO+t5xdU1dKtflcRGrbv6iQZHHp4vdnoUcRBdAmzKI9z7SWpbERN6ex9GpgtQ3wJQ9gLhyasqQpkjVzU8rXu7KJ48H1+4fMYliJccJVUaT7rBq9PIvkZmmt5O9H4UR+flJSNowLNs9gyDQ2vspwAKoAPgTfquNm+42qzzcy3kvrk7BBRni6Rx+gDa8HR0/30b4VFWQVWprsG8yieMdqZComwIYyiRGcybTnKE4ocb9+E7r4VOR+ObdW/dHjmkWkd0aJcNEQtBPFfkwfSAnYidPB+vdK7rlVN1sgaodHi2jr48AfrtDJnlzpOKK0MDhsv4d6YXdXmlIIAtYTxYqAxY/Lcks9Znyius6JsYV5mBJSZxTLTIqqLZkqVr/TOW0c7Bh+7sQSWJIoXvnh1UiGjqlpqg1+vCMzoOLV4kaNp7POuPCoqMX/VkVAl5CX/XQd4OGtBjt1IKmeMuwNy3YPwiXl1nYDSmeW73KCfux29oexuw5S6iJiNhBwji5KNJZxeXkwXpzI5h5WKmIAbb1/pX1mzdGKJTGdUgI4rwdjZNFXDooGIWRYb20NIdeO/iYq7osJ+vbSl8jGEsB6dSaUWnqB4p5RWAZ6v8K54sVq/4h/pHhrkT/F1B9gYDqYfcVsveW77Do14AdWFu0TD7wNJLf051ii7TkbLzMV98mqUlTZdhK8GvL3v1v/jll26f6SqWH/mODRyDxO0N5nmxIo0dZWvJQb9UzbH2PENhHEqgkJkFqlv6aBqaTp4PZoUOmoGHB77zED/TqiAjm0H3cbXczL3r7Wm7eCXTGBjMnuINaFQu+nHRa3xErQJdbGwFH2BmbhTLO3MPvhj7mRoNLB36+1nqPO31E14wCYdVYKZNCpsZEfQYFTUQez0MxlgVLzkqJ9y+QpHNJ1d/0Ni5govEMdR5pda/XNppwSrXGUeDFVD+anmqKIFj6nXBmVFSnR4zcng/9y7IpMZKknwPId28VX4UD+cLSN2pASkupNEbK95j8kP8ei1DZF6zTByBDCD3rLuNigqvLJuUAmQU4k8zonOjTI657Tb4MNgr6Qsr7Xr3vObEbcBT4BdWp9SV90m2ODfCLnQi/CF7udDuPho5I1c+5m1AT9R5S6pNBy8v1StwoLnMqtS9uFBSoK9LCRWBtFVtYyN5gB6ACYMEIH+0uaNfov5NuwZ0mAci042DbHq8uDwPmRLIaJXngB6R2UCbO87mXwawY3ZUcJkDKAbLrT3qa5djabjn+ujGh9YhECt/voTScnM+CfovHlChjPW/L0Df8k+N8pwfJTbF/29asSGY0NfhunGX0HA4L3M+xuwHUXMmJuzaiZuT4BEL01queF609LNz8CsAG8C8VE1/PuxOw1PNsp3QObDzLDeQ3TudyZ6414m+TrrjXb/U0FhiuM9/FDHu0cBM8VOQPg/aoUlWk8FmYimnVEmQPULmzDo+hlsSRb71zJwOEHxZnL5r3coFz1p5H0Y9d1uZ1MqYXNmh4PXc9XK9JYYbMrpP3BdkL7qooEHiN1NuxY6ngdrNDn3MGhRZ40ez+BVMnQXv5uSC4fIxsZK+tcQvFaBxjrjSyjlAz5K+N3Dsyb4wKHkz0MZf3vHD2TzMO4zZ2v+lrwt235BYkdhYnsd4+ESO6KUOV9pu50P+bFMkkEz5JaxaIUrWFMeIgJ81eliQcfd0hqVlH+5eAipIJKihp4jlgwRMauIguqcHCb1lvYnoNWui+TbcwJ+vZ0typ7fz/GRnYZG+3kbfkAerX0ZfSlpeK7CVNI6rKIKoP6SiMOUkL+ifyX47RmItHH6rWiGMR8VUap/XfVWTvyHiBCyISD1+l4raOhsjpIMTMuT+ObCbj+dAH1n4A40Fn3JLpIPrNwKqJvFmBfuCl7yoqtijVxDTWrABsuX1eSeeuHDDV6OLK4IF1+cfUWbsgNIdCXuc//O2ycXUy5U2JC8y9G4k8EFHDWeinbz7YmpphtBDJlO3S5wv6ehOlkP3auFOoD7OZH2XFmeLHbDyunps7kQCQNqVgME4gASKvI40Kz/iFJCKcUWUjGFNwH1+QEan2fTqPTDWtQKqTKXIT1TR+RQVjiJq6B92R2ApS63eV/mTXR2OyJwWGo+fGMdyxlcE3HjzMUFPVeSAdUk59A7GhD+0sHJGzZRoagxv679IkU47VnYZy0YxP31uZfqw3T1H/T/Fbqbm1M1qOmPjEVd1htNerlDIbuSLQyTjDfYmUQ6106H4yxefSlkcdVwBbykXPw1MOyLo2rI8YEf/UA2iCYPia7Mr8InE1xWTA4RZSoI8gY1YUKxRsa4bnHMdb1wqgXXx/Vx2h03aJsClMquYATmDH/Ft34lVokPavOxlQd6j2Ljs+IuMebFU4RO/TtCKhtSyLybR27FPlDD7+Yald/UGSTFVsily25zLHfVRn1efi4Xe8nk8TZuKhXgiwAbZbSmDrtcA2nH1DUV6Vcq0fObm+DZMKBa3H5JoY8EKCCpgCct8xIquWkZsDjXfwtXNYdeBR2Ht4I+g5MquYs6TaBMFgA1iGcAAk1JeuQKFuqfgJiaMcbvTUymjt6fIH15RwhEPno1sOOcAempOYtFRHnNS8BeUYx/spIkFvhh7V6o/FGVWhyWG6V+nygLOIEY9UrgfnSFdh16fjlOenN5BUvOHozRRnDGDvgCMFE+ao0hUwVujx6wz1yb3/cTBAS3Q07GihTmDzqXkFGh2KHKENhm3EKXfq/uJ6JQgWP2SHB9f1lgdS2zY2uokRQHRdmAZGdxFLDLYSEAAmmIt+ueXcX98RixfaKb64pm43YrCO88DVSG3yUR/Jk9XMjkyl55UU1bnu85GXpQ2YxsxjVAJHXQqJZ+CW4IvEL5iZLwtwPnLnEJcUSaIi2sf+o9CvTz5R9MjzfilbQhMFN/H+z9IdyaETGRlVNMjXNQb9ikzDatsriqh31DUqH8a3hxiR1HdP7ruBIypx8TaWi2hCnN/lHxbdiEiunRQeYXuxpJsL3jaWJ5bOTUG5kMl9eyFE1JwVH01IT2Vq8JVa7iCfZGDupFgsbJuUP4O1mkc1yc39QTbvh6tOKkljtfwoft8IOo2+vu8L05yhjjGYCqbn/Ym0PCyuycupvDXfqW3y/IjPcDyKQRzTARqBLmk3fCFZnd2HKEgAc6w1kD2K1nY1t08Aw83kLJes8TVSrXtnfrIpLeXaMnrqU96e30MkSe9S0srO/nAAXL0SV+I+BepJnEPMxIWcUWcxiYb12isR9Sd/LV1z9/VWWnQp4tJ4lffh74TvAY3kBP1544NBhgcsq4FCSYy+qqIedoHhKz6Tr61L/xHPXxmP5JO04ozIrDLcfN26kWceN3oCi+vKunVx0JYlDRR85Kovdr/bnXjcvwuXBHBowDDYQvje04Jux8yRY+fCt6oXugB1WofqO3imU+WnTSyejIixnDB9gyYEvfBRTpJNP6bdUQGDYKwZe13yoe5n6r5Adq7tkea1bs5NUIw73PpHAVqH7ViRdAzyiNRP63lQiKHqV3PbStNmNCexlIwrGoWVzFivKeQcTjDrCzrbGuiXcWuWW4OLPxS1LQUI6ncNZYCS6JdCC4k/xWicnLamge5GA+2omjwfhp1HxzyY2JQoUZ8QBz4XjC+omQiJ+aYUywOGFLb/dU3HjCXe/IxfzOHYcLz6HxvNF9lg4Y5ps+KxziDVQWXV2uOR1xYDJto21am8UfZxlOHdhLXzSgXmNkXnyR8P/Unz/EqlZhKYgGxf2i+T6jHGkNPuKsgz8NhdETf8qG2XsfcT9fWcVqpvalg2A0Q34wvTPubVqL3lePBsWon/s6K6ySGL12CCHS6J0GbOonQhjSnjdfnqcfBMj5aLSh9KH7yWLBY4iY2TTGE/1/nFRsZUYm6yqwAoKYebuN0ICAq1iPLOo+++l1Uow2tek06i5ORA/sd72Zogmfy2ZYxQT4KOeYUGTy1ar0bjCK0RailPRJr7mykeHSdxE1aELm+yct0NRBK2T+ow6zsGiOgFo/RFXWdr7EEv+p/+dtI0yroUiIJwdezNBJa6fVHmuLQLPagqdzw9t9qz50faCUBzMTZpRzqlMb4pO0gdDcHh/tMTcdHBXW1j4eNDv1+OOZbxlv+fuICSVskbeu4ZUdgnv8pE4ElH16kQumWSN+xq3EqUwck3zRJuGgeWUDMNV9tCk2VFI0SPlLMchiRmhzwdFaOGvoA+fiU4CXxWKWp07s4Fv8TGN6c2TSiZO8S90tSH0L7slNRnz4bl1G4V3VBT35zNmfPoUaPizhRmXzJ2XWveXqOYK+my1w/N+rTiFWOIgxPT0mjZHreur8l/G13afSFURfIcp527QLw5TZJfaDwjJgADC+0Ot5i/H5OKRwJPgkhHV2Tgbu2RMNG8hSA4+sWbO/VttlDJvWovsJKvnwdHOCsas95Sfx4VziFv/Rc1KL/HbHWIakp+Ofi3ha5MP/1COifu4roDbJY1wftcK/z8FaF9HDkiBKAK69eIHGy58XSegcNzkUrv6DgaOaxTYcb2b2CpHhzH5WX5Zr8G4H8bJqWhsuU1jMpzms2dpmWto33Fp+lZwlNGeILFcaquDy+jsGFnNyugj5dhXkD8975E1Tp6CadFnkV6s2oMkQiQ2MLDFeUzjCNzdjL/U5HIRchpSFlgeg+DnuOoYa5FBzWyZRMqJXYG4eXzwaiP6ChR/hX+oOwbV+ERMvAzzCyxjn38zPMCx0yVE5C4XGWDc409mXrLNtRla8hwWog34vkob660YFNYIPKHvf4a/zF7JmO60AHfwqZMT0mo5+3lSBEk9A+3i3Htt50qeMXj1pnHbLbCux2XJVct58xxnXc9BGTgvc+pImGDxCRn8/ghWvGwPRADdGx5U26Sks3K22DmjxiXvLRO0+r4hwecOjy1NApjGDIL853It9J33zq+puPJ4IgMSf9yLndKDQQvM+LZZVMeKYoYeTU6LF4s2WAktbQNydMv1xx9JVSP42elTtEJ5Gs254Chr/X5FQsIQc5o5r3F2yF7jXfuvbeLsfI2ekqZ5Xdz7g/68uty7+jl2Ln9xUsXuGC27+Q8Hqsc3NHXGBgNm+MvpqaRDTra2QL0bQ8GNZ4RwkJoGX/fhgzI1um3DNCgPSJDgqThRwdxcI4NvOGzFHJie+N/ijpPraRmOTQYaAZoPeA3t2GDsb9Ox9IgY4nPzdl/b0CUSIU61xwC5qkvTGPyqFOLOf3tZCJ77J2nq6GfpIAClwYH+LviMgwxbKBsY/HFLowcOMDp5MbNGDKnWJMddNUmV+hHv7Z117VtHsSgNZ6Z8Gsm9wdPCOJvf82Wr8tvMg5jFhijytKAkfZmywriQthJy8NLuJhvsRRYGGb7Ni1M5XJsOylDs4PQlPwXOLdyu0OXcNQkBxOtZIfxyKKuFez0IOghCG+EXHf2IrQq/r6sKvhrYG70PXlxW+CT6OMKmuvZ27wRUha1qlLSNrqj7iCKI9AQ8sV9rRUyvzltIO9Z0mSpZtRx7xqIKnZVjkJwyI9G5e65/jVV/5/Sj9uANo4/aFu72NuHJWsao2qGqsyPVR4OBjmVnFrnRL0JOmhbNiGoeSoGaoUG3w63jzlJEJb8VRsKTwLwQ1xHFCkxApkUUQ+EZawMnBq74qtKtmQHE8l1OpzZg5jCLxj+6LmImklOpSfcZEyNQScwx6VvH6wsyIplw6PwGW0M/0PlsKlAouPpeCqk20dlshBScb8vamtUFP4n3zHy3dwJ4L21SD8ZYxGaVAOS2/8OXG9bJP3I2MuFFWlsZj9CCfgv4wP3H3fP2tNShwOAAgE+p4YU4G07MeHjvBRsrQrYzPv7VPMGsw0m+MoBXQsTkeafvvz+bigQ4pVeUhEL1RlHr9+Fbdofe2bsYfQb4q42GTb/27unJDOwJbWeEOHsLcYsXfscCf5JRXBt1q7y80sWilCdvWo3CGQaUWsHNDA7H0kRtgQUuWz4FfGHKI4tbCRJOm5h4ZZ/z5p9Qnvwyu1Yxi8/4TFKQvJ16q1kp8La0cT66x4FTsNmzsGNIy5z6EMG+qgcqQSYLBYmwEbSvJtHpawka1nMX5L7gGcFOogNyfqHEJA6RDozoqPh4zoijVPabov/OnXEEXXUTBBSmu7RHNAjgtJY/CKJ7aTPKiQyapuS4+ZwSD6OZVO7SfHzMutfUapNLDEZpWT9lqlkRye4UqngY89Sh8AXKuQ5VcxQ/t6asbCdDkcTBohnHEmP7WOtf2/78ohVwug+MabQA+caGRn+Mv5f+Ac/cTbsam3XQhwxTmmldTqrDwXuCy4QP6hKY9TomzgyNDRJ58QKosjAJkjJ7J67PrwFAh28NhFn4wJ6xrvaJualZNZnSAlir/PE2+4djmQ0WSXnKqGJUPJuvkqzEaFDAOc1wXqesQ7YuJHPJxoxjU+SQvkoBKXXccalLbJX8NmXvFyiGe5Jx2L9x1xpg7OX3j1ex7DmcLi8e63x30uo0B+YUUiOtn/FdAezRq9ONAD1Rxkep/lTUokCnQQqrmC2AoOrt1o6EMdycuEAXpCnHjlgxjcyonIQS6WoqUNB0t3TQV37tKXEJ93WZnCJUNP+b88XCZ6a6lMkCK1JWJOYq7Q7YTsjk6j3H1VHIhR9LV7PNGUAdwOZz+Pgq++tHfkaIbiwCfMnjsmkBELGisp9MnsevPdHdSPubrinZ77ULBTA96LFHRTieLsD1YQAEoRASchyUlZ0pKzmCRHUMzlH5Kjw6L1H6deVKRRUp1xCh/ucfO74ONrzE/PM7FDcIhJmuoj7XkYX8AuZ8Td6Z65TSMmX8hqYD6dKFYg//g377rB6rfRmSK1OJT6pzxUkaNucV8nKlchxostHVMLKe7dxf+gdk2GTfQVxANc5Ahe8kuwSJ+LQaboK2CNSBE/NO4NnPoyhkgPtu6rldiK86pJlBzBXP9i8H0Q9m42kwpKl1JaF+/zUET8d2nGDgm5KeAi0MsxTPQVvUyaYavr2CO8gjJrbyihvq1BtbfNJ6pD9jloYdF5O6tccpz1SrNan7CtyQIXzMU/M+cOmYm5hZS/AHAj03uIID3yYSnXTTLppaDP/MlqgWER9XReaq1sUgKjaZQXzHA/sOnvwZ7epz6mYp6prFkIPCzP+JSmhGXDb5Hkjpsxdy3TnpQTv3LRLl6Js+/Qpdr2I+zinqLYwZdLkyTLD4rdHdfjqILzZkOGQgwkbT7BRR4gnhwNZka9Q+q3o+QH10xhlCOjGQKNEZSKkQNPSzusV1J1oaeOKrWom7CgZMSWHSaeAOBo5gM/Icoy9s/m7gIEy86a3ank9FffXWKyyf9qqdYOM/Y4bKGTduKl8KncnxJyuzMTQ4C9PRBx/vgqAgZOBbfXlazz5iEJGfzSDvD2Af8zZmNN7AJ9HhyWCRNgPzr041iCJz5QOtbTjRbJeguRtl4GblhBMFvjczQ6cRrDQ7BHeHXnJRtrdu9KegV28IBnbKrDKj4uaUy/x86LaTapADNj7J5ky3z9Ej6JqnN7wgNTp1w2ZVvTITdOf95Bm2+FvrhizyLVwqCT82y8a1fmgKHX0YyKwEpoUEdyNW9G8gIiEtEfL7EWMQCVQkkedQCQPL5+8WBbpVJr/H45BQpMEGlbKpbaO/idxdIT871mGyGXMzfxEddfTqnU28N+QMT2fW8xTd713+gF5zescpBstL71GxDB+Q15g5xc5CwakKmB3l2uzbMXqtk9CFz4NnNenlO2mL3G2SdwQ4J2gmiC4Q8TYoK1D8WzIERLeQBrLyn6HePoQDSDoKRjbK95qYt/HufRpuzVycakK2MIVBUzD4ajEBV+A388OjdjEanc5VVFXzr3t0SyF8ilkZPUaLBGfMDCq7d03NSSAR0JWMQEWRw0dYuNc2r+c5WSFV8FqJwehS08uHwSTRWa2GlaJsIctdAOtyyQ833lElWveXuKwTEZ+29RGGmp6XvPynB9V3R+BNybGblHRsc53QdI7SEWUb3/ayN4WBP/0nTH6WKHryIst4H82U7waHxdsZYwR+7srjZTnTmHvj21+YmJKQS8/JdZwPM6oy1wXHe5t5cvJ25W7MEIFfdyIqJ73dFhpNViTDPfRnBQoujjaw/tjR9X2lK3X1EJ8/R4uTQmDGXV5FlYVjKX27Ko79EsDcNB4IBZSe+4DLD9d7gykvSQ1Lz453LmKCtTU2df3CzPnnweu5N8Bn0/YbllhbbSEIX8XDBz5OkcAvssjoEO7V7jxheAN3lQVJppjX4ipOu2jyQnsLa5pJR1lqWUupryDmJmQWtpSKDUhyE2apvbiBjEERWBkSiI8rZmJwqYihqeG/1+1MXqZPxUcHmAo0bV+PhW7IYsx4M0r/grbOL+bBgDlxNp+lMGGf6VwxT4gHKL+KPmqIkcEgUHi7qzHcObWiLsQnspb7V3RvitECInBc8OVGjFbrcOS9emdsA34ED+ik4eieJmqw5IDImVbYCBerp1EZml4StLE3+n6zaO5ETQn9xymtc3CXaWt9qbUHJmjoYgLONYHxCHzcdPNCEZ7ZGqv1QEr/A3Z1xFliWQVPLNgzfCWL7XkZniSSfZ7nu36TCj7E1F5ID5sx+eu+FELSWEj6N+lZafB61eb8g9OcGsu8VknfDYf7SJYCyIYQDjHdMgn3Z81ZoFBYpQ4O6ggPNOfJjltlIu6a72DnoWS0qeoIIAkLLK9CiYhbWBCCcZv1/eZ5AzATYAMRxgHpN/rLPgaJiIgxoTB/UWPjAXxb4NN7TBZTv25dQiXG4p3o0isUeCWAy1q8t5Fh5KYF+UE/Nad+7F23rRwcgj0jdZGMXHTVmmOR9b4EBmEIZBJA13anSoPJD9ELg91F0H2nH4UVMVJw8LqJ9jn2MHEeQWP8IrPO18B8yOc9CZiuoTdp59zItFcOdrZjAMFv9SHw/tDo4/rG/gViI8mQuRpQi0bMA0H8Vv2Wsm5VkNUgE/4hN4KsrG1bFqn6vEghWgQiDj52dk2DpXcOWqGd1AOILl7HAaZkQXzNIlu4GR8UPmRyphqdRmDMqLATEdtJKfG2DSDlVFPdMXmBbexNyftz5VOZKGXRqe2YD8YacfCgWRYldIDjhLMlLuKhRnnI0X9chcpSEy6qUugwbMLu5rODdKPK6S3j4IBZnuwz6b47cvwZp+Z8rhv/EMyX95/Gnw95aUOxq04DhpHAIEiIHsXpSGJvE1Y32pn80gpxA1M5l+cZdSg5fWo9Ju973gW/N/mwrm5B8kBVqsWtTslNnuxM7k5AfpV05mA+xMRozv+t77sqkK5FiWfVE3QJ3qXfWoGMQRoCuPwJ7kJQ/01TPpBzyCpyZ7q+1bfSuFvRuTmMgj5inbe67BtA27qKChcw+rwK+h33lUSRlqywIrTMAztmJ5Fd5UpQwHk5ptSB7lM7fJM3kFX1r152x9KgZEtzXYrqX5bBeqHBka6mVuOpc7avcUJdQUbGPPB0Chjm9rVIpTf3zn/TNimN/8vExC4jnhtZPKiIOt/7kzUX1Y/0+T27OiaXaTWbHI2dj5yQFIag/FEKnQa2XQ5z5d5P6ZIqi0jb4VNS3vEICoCG43b6a6h9xpglj/u1DAnff6pTzN6dxRRCc5B9c9DAm3lAeGKik/hqa7ZHH39g6riaw2W9Q3SjyZDuBfOCFb75bXntD4ZWcLj9ZhF01qqM9zi0IwOYYdTKSk2mkrAlhr8c/fzFH7GwZMrmAq4cWr9LoYjcV9u75/HWrcHZqi+wfr0TvoXSnUpX7MLczOvcvNIQNKbZ8LVkkkIdwvTK68MHHwfARGVLsUwsW2Sw/SHLi7pbJnaxtu+MUltvai4/o1SSaCEAs9qxxNEl2r/A4laKLxt+O9Wlc6+mxlL3IhWWc2Eu08ZgeVobE4bUuJyNQRX+2hYI1mDm+8L2pBdSJ49dze0eV/QDfKOKCl3py77I5hPomE0wb7gMYEMoGQya81fgk6X6dytfKWMn2FUJF1O9NKIp/LdT5u8yFcTaO9oHGF1GVPpT5uTeecn4PGFP6TCKSm3ceSjO6mqemjpujEInGln2D5tXwFoFfQ0YJXMNF5nLkPPANa8vwaluHfQyUNLJLIJUlZUYQjCBDCn+E6BlfKbmgKeUGHjdjd0hmYo4zE0GIgkjMAd3OawCAMq9lPBZjkiDUdY1LmKyz8aThjxmbChJeZMX84kvHq51Hf7cc2tb/J0+rzrUP01iniZWFvCQl6A8KcbudS72o+wI6Agt9SWCEdgKqJQ3Xx6ERbWP1g4uRIjreOZBBHNxpCEIX1NtmSz87Pv32GAMxex+G++7WZ3qIgFsq6kYc3TX5bwvY9lgtHI/YmmeMb2N9imISMSNwzdoZiWgVI2qfgMPWpfyu4N/5hj47lGFsyStMuHF7+orxsw2yJOnCy6meai5X3KB/E5Ah1z0W0onSLWDuf+ofN+72WARI0fqguGXUYxL6jV33I2+de7vlIpt0DGMGtogut3aIOUdyhqDPmy0Fy9QxOsiMFvFts+1x9PJXYj1pJv9CLbeJqHvNnHCEmlR9t6RQ5t3U72wV10Bzxi3Aj6GQHH0kfxhZGXYv2KRzJp7hRj5amKrl2rLHez0xpIgCGDb+LXI3zLAWjmxgegmmTP6fm74KzzuIFiFmFKK2yAvlWa4bq5bqGKJpTw+ZnL3uDN+oPNddduAAeN69sj/xY45u0nLHbVUKwyrJnJ+scCWzoa+m5soLOUmWsBiFGoneMI0f4yB/hboHTYAlPf8PwsbA+Kxpg3oTmpvI+Qm6Bxb2KtLRFGOZw6cEWvrAe4/odjLJYynJhVZEWNZADhTyup3/AYNyFZUR0RrPdBfOS1fZEX6s4Eb8ohkTkBF0v63b7hdw34a9ZPHtb3S1RHG77ji9Eox9U1dN1nCcez4OioFzeuRmNBDivAEGbPmQBJoer/NZ3rXMz2BZWroy1aHj4zT9tUYoWESZQPqbRS3fmoXF2n0ZQ0BLXxSpRh0HfVC9/U6dbvZht6+hTuwVIJkP+/EBumZIbQH9mGCMuU+Ze9aArtu+UWKEgbbr7YusAik+r3TUyslUUeSo6yA/Z6722+mdt6zHY6qo0B5ah5EIFddN4kZOM2QZ39sccqmKO70wIHHOEZg82J1x9oPO1wUwOqVPZbmvH9i/fEHF1XQInvFIQnOzWyAgtfEtCxhDhlOH51pzDJtTBZMzEDQbdJ9WFWaai1LTBtAsKrQstSHN9bUWljBS7UkyOHd/sT2wIHcaogh+JVdJgY3F4oivsVTXfXsDgO0ODdY6HC3CTzTEEytVnPtexkrbB0s2snq508ROocti/bORKawSyyR8nmHFDrWD/Y2PHXIAHnluL/whrbpHEKQE5ex25jR7tQIF53Xj9yXDICLQDClJTShrwNKNC4pDgLOGTqn0C/YVhHCG92ohLYPwDrEYNFvM2VLPgUF+oNIZYqj/1vH7DJnn3/w2WM9La2aiur7DlfVTYSXCbfoqwM2chwCJtlEtY4HTHPgfD700s37Pjh41EP1RcsYySnlewvE67kVZ45KGMWpuocOVmrBnaUPl4CZK6dPdcfMteGzRanR/Of65Q6rNEZ8sqQjR3y3ebqFqYnWBqCUbmdHREPPg3Yxfk8uDInkGetgaOV72xjC+ykjQu" title="Mekko Graphics Chart">
            <a:extLst>
              <a:ext uri="{FF2B5EF4-FFF2-40B4-BE49-F238E27FC236}">
                <a16:creationId xmlns:a16="http://schemas.microsoft.com/office/drawing/2014/main" id="{A20B4904-8250-4C80-95A6-E5FCC705E46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57200" y="2057447"/>
            <a:ext cx="7993625" cy="4185085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4175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descr="Enter Chart Description Here:&#10;&#10;End of Chart Description&#10;DO NOT ALTER TEXT BELOW THIS POINT! IF YOU DO YOUR CHART WILL NOT BE EDITABLE!&#10;mkkoexcel__https://kmallc1-my.sharepoint.com/personal/david_kma-llc_net/Documents/Mekko/Creating Charts Using Excel Webinar_.xlsx~~zzMG_Chart8~~741c2b48-6351-4a06-bf18-00ec6a3b459d~~636765080402190539~~='Link Existing Chart to Excel'!$A$2:$E$36~~False~~False~~Falsemkko__4HooU0THZk28POP9trq+pbTvvzd/gcV8t56cq85kb3NDTsUhojRA0EsgEHHMH7oYP1SYpn09ysXVivguJdhTvfyVMsBLTGvcX7WPTor/CmVJtXB7Xmfi3BZlo+AgV8FX0r4vzeIDiRu4L7s30to2Vio2IBpZUo0GSHdisqk8IUJ6mjuHNfH2Pz/+X7YWIRLfqgA4yzh0/v1c7BizHOrW2K+X8WbxgW18EBA/2++ssqPwmxvim9WsdiS5orwyVrQzJfiX79eudrg15W91LZInBaC08lSRfs4YmappX7vk/r++PBg2xdhzIbgme2UB5iKhMO6yM3sydNmsrnQ6G0W9ApZOYFl8MsKhv3fpJvYFCvmY5C4DAhIY5QajqlGQ129U5fEl9DlAYBCFcH3cGYQNVucBgOVAS4n9H79jtPjsE1Iu+GAgcnTHnpcS/14OrkrZYp3LcAmgbj6ycwB3VfiNOCiguZW2XISXbOd4E3gkabgHO7qxAL8npQQKP8XxhcKoGFABh6P27uwIfxTjpfSyS7YVIx/ELKaaoJYPfyMM1p0b9BkembAfsJufmDBKUwx8faDi336019DuGXsAryUEWpL79Xk/ljThiU7kH0YAhAcEndhv6gOmb4GEgoDjGUeDELyPOFonXtDfoYu0zoSM90Zw891cvNjRNWOz5I+2ddL2kpYuLMcLfE2XCN6rzldw0eLedri2EFr66hwVA7rTmIZWQuGvbJodPSZJj0Wgq3Pj9xEeGKX8dXkF51QazU7tcZOl4kSkbh6SB0u0Ihd64gaHnFs+X76wTn2SKc7I1IKS35AANXCYnHc0lUj6oHF8RZkaar0vAZSMvC5rSCJ6KmfE1Ot0V/Jhhfe8uQyUvuoxb8iEWjYHYA4mCH2zKWQKiUHnBBnBLH+tBIYrcIhckmqJtEmEwuyygQPycKCbHtyNXxH6liiK9WmdUjB4AdvbJvw11kVtwSJIcdvbZyM/eGoVfwdfU/opjgQZz44pajRSvG733LD2CAcrMF8+fJ+jRFtFDGu9B5DDauSfTcRzdVF3AhmsnZrO3okWBijTg7CACGTLW/yGs3XbaLE4wfFBnwq8gxD8e/7habtbsSwKBxaBRnHFIy1irx74l49GlfsoFgwfM18CN020GGrfXWfvucj/YpHxhTP7yZ7QsKmjqbeVQK3D231u0Hdw6Kch/O87PjYpPl5mOjfjqawifRkvEJCKtwd173+V2t/IiHrRWLGRwyGAu4Bvr45sjicWLjUVvnOVC8dj2/lO8ptK48ZDRx/XcBqHOJ6M+egW+vPTZ9jjvvZ81vrW2SGn8H4Xakm8GrZw74TAh/okGJgZN/D/vyIr0vlNzEov3B/X56MedAJ7YPha+CNMdZKmejFXHkz9Qf7UUioa2jTpDDayjM1xGg+n01eKA62JrN5utwUsH4i8MpEYHMLUZ/qCtv7Ms8lQE50my256dHZWnlSY2YI6NNmHQp6oGq89l1BXAMMy96uTKaXd3rjzAybsaWlhEoVBv0E7Q+gCDcaeLbGedXtICiGjmuqHwkYvkRCIln39Nnta7EryBlEq0NHWbmbL36W8mWEfl1/SMf/zN+WA8iMMwBm6m2k/vLXplorIEcpYUk7gvSRRAUDhKYmrQJpQRPL3QoWWCraj/2mCO1OGlx9t7GWnbCREt01rtp2Ba+CJ9U9CK+GWcjmzKrHAduSNrHL+lSbhRQR5SGK2jo4sdnffS1aRNsUdQnNT+FY5BEWqyN0cnWmogpNrw5QAdcKZTLnMeVhkIHEwobyLky1Wp153P1CjbT2tFm16R90CMRnk9TLuNjdzBl4fXwPx/F4EO+rygvwOQrWE5Y2/sTKJxXCCbkw6Ej7DO/3UtumvooGVC/0QXGKaAWtmUXzHq/l78aXIQDZzg+N26ZYXp1QOUINfSGUiDa+0vBzX8X1xz9/sl8VFDdA0XWp2qRXgQNODD3QfQR9YSAZlsyJ1y9em0/2UcxqCh463RmWYoBu2O/oT8q0pO5MLsLV6HRmJKRy+9BuNxGucHon3DC5Ixe/TW67Gmocd0aey2Qn8viAlomXldlJayPTbQtXKC43BnzM2YBWYaArtM0UPXw/LZC/q+Wt/+ba9Dsz7PwfCwfuGEzPLhXq2WKZ0jSmH5IbbtCvhix7ZX+ngbzmk6O/WYKl1igoD1tzH3QuKrB7hMFXyxiVqHqpNQ1zUMurHzlYvwVwjk2SEBKhOELRGD7mAF99+u/MBqRntuZxlo9tDB2JGkjTZuXLzXmcl/i6cND2lUtNoi8Wts/LqvkLwuUKn8LIqxCUMQvsa3nvBpeQfb80HiDmd4pgtBM84x/F7CudUoaPzt/CQ18q1bFUbfBo1LVavujRQHVfwkFtP78tJiNWc/9JkmizkOhIePW9/wr2EvaN4nWyo/oQkxwElo63qD7Bf088Q+yS/Bb9XDGa0J6yeXGJbXvyZfdc3HwtRYwdGTVSOFJ/WVW8XOpP2j4ce3SC3U+gPzAeBGkRzDC9X0qNCxGt68posWxocEHZ97eSlMonMFxwKYql+ZoVU/0uY2OAj6+KwzZ4y0cQCD0OZZZ+SEVB61mpK+bX4GwJRtJTQ6MxdEIbdtqP6fY2BSRjsSsUDPs1WUe3ZX5iisB+yvyFl86q25hee1NVfvBpqCIdEIhiCS7oFEcRnjAnQJWcX6BmcCXaTGfgQn2tdGwmXCtrWibu/AHGeWfFbR6cYVfi3QrsPtTljvOgQWV9FxqTCysfifHb3SQtqWSwP5QUkXz+7QFFzpgQQxTQJ/OHeq5jCQe34dNB/Syn5D0yh/pqgEMlQqU3V9eKydOdbbkPfLMvyKeY/+hqwDSbnZlLiT1A8CUXV+lD40Ecdul+QMoDUaCy7Vf9kWBGYdV9/TOEm7pNkQ2GkiLc1y5NuL1kj5ielTQvSfMe2GymyjE7ReryZr+w68qq8GVMfCJtQSjp9VrIzsAaTchcdkWhNKDYXSmmmJuVAYNaBe8M2k5S8V0j0Lri2Tq86Wvw4E7o9EQZ83ss3hn+sUjNcwaQsYquzcxWizN5sya7YfXB778XSoFpCJOfiud9HPK1t+cR/V8GfJcaJXKo8xVoMQj2YnZz/BCaPYGj6Ruam3cvGT0duQi/CaDr+TMSB9rg2KUSJxxC+AGKZ3DtIXiU+f2I3m4l+n7cBMcVv4l8ixZfHL6gik+KEgPqje+ltqUBlak+kMC6EKisJRLGtOm3KctA0F5ORraUZDwCzOptralC8KiyvUA1HeQsCSMgKUIMNqd32x3pij1u2+SxAVInI2He7JdlC+fIXx08jMjwNu7UQeQTkkjGVFS7zPOvBvlGaKbSok7tlp8yzDKjRgQhP+ax8fI/TeplLpkHKyhuxXvF03njZ4XPLrS5xHq2xLltGSCc/X4zJ3V6QEAqaEk7yluIlk0bRgi/RuL/dsWwmhixzEIvvYohctELmHbvISeRLGKBuVUgVEI4OakJNXPIKtD8pH6NvE+JrdyDVdT57VBDaTZhKytUCsv1906HCkkWXNTGQ5miJfnuwh1f/DfBkaOB1Wlryl5flxrhM2fN24dLXImWd1+OlcGeh2+zbeeU/K0VaPpwjYD7VZFR0aVg+muoGw5gL5Iqo3XsY+4+GMh/5Whq73bmnV3pcDrxQFkhsqcICJm4MUnIZ7TbmRFE7VtWrlu+zf9pmN6MVSDxKtypHYsuZ4bD3XFjH7EqjLGP1vcmun8CJYU29mHV1fgDTixuFq4s4WRtQOGiR0LfS6Pu1iijdpH7RJ/1TffsH0fSxt7nUv7x0Nz7k4NNYfPoKSF+CALul/XGgNwIl2JQS3elfyaHHZ3AHPv6yr12CoDaATwhmAyOzUG5N4T5OtI9aXec+tjnBU+PWoQffhv9ZLCLrs4dBqLi1+UpLg1vd0n8hhfn/Tl3XPYsWYE3TY6v9cYL+nGpW5z86FAoVrK5Em584cZ6e1nLq5LkHOQGfMnUjfcrw94txCH+cin6K/DhqmEQApJBSqGsmtxtaJDSwh2OgybUFM4SrYIVAwfRNHn0iqLWT60AYtKfk8DEc0U8khr0uBbXpfIdBIHCSs8S6514xDbRLbpRe1+o7zBfFlFGOxNbZHchNuzeRgdV3dzZzeYwrFzLUhyseJALB+1Ws+HRNQpuBKguJtMxTnQdooiZBNj0tiu82+5VVI1VuVbBxGBRe982TJSESVz4MsFhg31pE8TWC5YvrzcDXLylr9aobJQfn5jT2j9EtZPdwnvzAqadoVwInKkx+dJJfX+Ybu0k/mJdkfcgYzwm3f26q/1goLVb1ZAk+DnhbCyAduescR7tTbi4gmJnB3OnJ3HnzNvxUdvl88DmDJ4pjFJlJPekyVDiFp7WBB6HhrD3Bl3eau2cIsncD7NYqPYV83a12LreZikEaNAe+9dnfC41iqVeQcdl4T3axMk6qzSyCaJ8TvQxzPIR12rF4E1/DJzyHL0dbh5La6Azub8kKgJu9hjY27DpePy/Lfvff+AziOdy+fpOOckztSzDGK70fM7mdkPJiqTf+m8+wNNSiBmmj4IHMv8oWeNSSjnjM5bM3pedzonzjkeD1JxgjXMviwYjANjdd//1/2Ghb7i+0k//TyhQWdJMPsQCn3Oy5ODZTXHITOBxlhRR8I+aaiJGW+iYV75VZcRLiLf0I2NJDfbp+ArPUWm1nU76SEbLFcsBuN7+eNfobz/vuZPJiKfJv8GGNccUQ2ipTGO0XtYxZXO3CeKZWLITgCPig27iAgglB91D3txbNzv2mW/YJG/PfrzTgeYg6oOnSa4UHJ/90QeHJ0m4kUch4CI1tiBrSOMkHcT0yKkrSlMOOF//ZLhNz0pp+yKaxoR5vRiSMmvJDy9RwflzT0s1Et/kVbOMEBRyzNPzdofKsdZ+r/bONEPNXhYh0sWYqIxFBPFjS1oBw7Kflb8/cWII1HMGnJVsoAn+w6UB/r3odjXl8I8ypi4K6IYvlaXM6/5E6016aAmT6CJtKkSKcvy2jTvyWAoRa06htjE9GpnRS9Mof/qXTdUWa60YnZrR5O2IW9qswrU355434DPC7wB5jfPjtdChCTqe315ztcqeR91QUpEVoaNHjY/Jr8bstLukAbWuLeFQIXouFvpXzFP1RZ3v3JJsKo91fHWBYttxaveDHBKWNHzz8lGD3mz8FqPKcRQhPizpdA9YoOBn4R/J6Hbz278/7+BjZA7B96zuM+mI2IrekMxkTfWToMeSJR2oqRTQvnj//2Xw++GCpe4hFYXD/eU15YOprTRS/3i+EviYVMyGC2e7n65B+1BLvR4dly1UhstfKUl2vDQxgsI3CqYb8VNhUCfoBC+suCZF3PUO5gt1D+wi7nvv8BkCw4g2P5pZbhk81wZpXiqDc3AuFFYsmA7Q+Ge/ak6HKuitNTGJTbRbxkWzAZInglm0b1iNkTCsJqjGq8rWS9bq0DayXKO0im79OWMkcP8k/6uIPO4FXLX8dQ8bGGEgFsd8z9GfCa6SB1qeCfkpUamXWx+OO6mvuGgSj52v2kRfUqZzJh12RRPycYXyes+e0ufZrVN7Mfz9dYON6PpDDw54Z6BDbuRG2qMEfO/ApDMIsBqNA5mbgqA82k6etGIG3AxrpgeNqVjD/ZhR6cfYT121fiWAdb6C1y10MxEvhAaj/MN96fIHQ0UuStDwLaXnxs84iPKHEKhEohQzKwdn23k2GvVesHk1RsFYn3o+hvw+I1rDO4nLOaINAJyJj+ID516eDlqtul9f14RaLZ6AWMwwlJUYDgwI9HFhJPydhXxpNrsxn5ndJrHt6DRP6m77Jo22cVTlgSeNhRIsglXcyeYRLl1Ze5sJXiCH7OMCISjjcxt17SlNP7w2EMo0OdveAgYePF1xbmnaboN+BKQwtVYVlfQOEAqkV2Jvfz2AxuuZTCM8nKIUbu62ywmFJ0OV7EBunTlHXyeQQkb5ddcI7WBMhwJuY21evV6i0GkBIkfWMGAGkuQb267yUZ+HA7/gwXye7p1AokPQcuWCKZBXEqvL4i7/KK1POjWD4ZrZC8hQ+4u0xZGgLuCV5J8qTNNUzFtbuoUNmmoFabRmVjMz7xZDBUzbjSTQnI2UR2mEWOKAGlCIAgomAFsWFCeJMRcH1S88dN0hvCuD3Sr7rbXhw/ArJpTz/4Ibr+GyY9WQOC2zmPYv0xg9Yz5e98LBXq/oNbOXws9PZpRDjidJNKmp5R0gYANjL5m2p8NZybceEMDepDa9FHJwCXUCOd9zhW6m1VAvDfG5tQOQpL/DSYbd5g3kKnchXDHWS+yhllAlImW9TQNIZ5nw4WySo+fFIyBQQpgJMar3VUM4EJL5JWfdFdKVIyr71H8SFOdtv/yK4R5RepSij3vM7StwyT6mVchPAl8dgvy+Wpf4cuFskwPGKP/67HUoZGnBeKY/k+tTxl/e1cdNeZBZQxPh0xODr0igVrdipjahxoY3Zcu/2erEhB1fXqAJ4xg1WpAX1cCMfwunyDB0MRHWR6QqhSOtVrhu1VUkEa43ZlV1olDT4M4Ue7xifr8XD4n6l4Hms0xdpN88CT4TBlognL8UK0OK3YRrxqUy6/zJJaG9Z0TkfeHjhMkIo+ZYr0LvKtq+obF4ZwQ5Ik3Wmt/rCB+V2L0i2bUcthxxffce9w+zJ2Q59fHY+c2yKtE1sfHR8tPycH3RlDw6g5yJKX3trFbM1YqyvILDU52AEJOKeuMVSwzn9BREdH8s3Gfa+WKz75u9k/xVl4AZozTj6lY/PdTN3G6cbMCv6/ShTKCGc2XwFZEq7kGMfO/UhIvNzSebr90muO4ZVSs0bzitG0b8DFyPeDjwPUnAte+N2QVP8ey+MbeY9H0Lh78x4rP9gL9dF1oYOcZSQrQPITO/s+Jtu5rGRbHzYo0c6GAR+wXAtgnoD5tv4A2oSygAvEDQzVChq+2mtGJFk6WllNnViwHzfFFrgwRdhHly5AoBRxawqSntOLCr4knqvxWevqBwIu1C19rjQedr3MkCuXLh3WXmoejG16t2NTxmevmatkYmkc/qgBk/MiiXzkGyCWPBk1EWFmq/TDt4wEyzsEV61qjFsZqXVMjvkGkXWYzSLceXbLQFKmk37uzhBIqgCk5BtTtKotwaIEwpFzDob5rQE+bBgLuydgCFAazdRNZOphWq0cHUZja8GuzF9erAGYJzDfr/6A0wvY390DizPBzLU5RgSkUG1y9x7srg0eD+/NRPy2QKW4MRI88dl9RVvcoAojiXT2C0c0Me21h8QGwPbWuIPh49B1Aa7L3XnO4UteBQlE56zLJ71bEDuwBdIXTiACVrHmNIZtoqJhx+EWwPwu6/L6VJaV9ZHRH86+Op0PekfnjlVP7u7Lwb65hzIGl+MqSD56WS3mFsbeIzc8qUKCj5AVxfsvjlR6DrVTALYvZBg3m3NexmhaoDaFkMcaT9jMc/ABLEUA3zfWNhHfX2rwvIagla5xl1L7r+8ZmiTy2QeTcW9UZ/DEysUSQzIVULX5JCmUHeKcbclVjKACuPUWwjMwZ50ovqcgyS3cPNPIf7uSmfTxoNPP+EteYGMLVv2aDzihUmYQ4ZlCU5lBBVGr6j58CFJ+Jp0h3KdPbzg+Ea9sDT+XHVqTWaR23pXj0JyMYYVKkfHtPJvrOt1pRuXeGnEzMhNyVxtUzS+77eYWChRI/Z1jzhaY+u/E0r53Dr0aKq5GtcxDCdPqkLPcKY/tWKJ9vuorvzKdCx158J7ZNwBZ0s6jtalcr1nqicCw58q7z6moV11D2GGBhAvEw+CN3vfAKE1LdzBAI1Pxzyz3PXG/rfjCtPUVi/x8FKwQ77NaZobb+YpJmjAgzoPgF5eTdyEZjv1QRoK292vVzYdtdHNn80amTLhffyparN7o3uz65pU+Xu7KzvL5ZKyfZ5iXEqnTdhkQDTjCD7A7VzhKhdeqG9Ws9cKQqEl/4Cn4nVs4dqlHH02ANqUnpflYtZG2Up9wOQJBWC6DfTghc4eroNPeQghD8Zw2ULocDCR+3q5M4zkML3FsdQ76AT6CYOUOM7c64aKNFmwS+3VU8BJlgtkEG0dMwizIVauDYUZZn1dCXgSAgid3XxiWg8i4Kzo+VZ7caPwSfEpwq6GEjTVX8clMuER8lgJscSVSoiG6TAA4S3Vlg9Iv551oNGOFmIIi2QCNlaeF3t/6R9Sfbuz0lsRcTeUy07jlgeWHHibQTDXI5kjd8Px4GOUdEVm03AxyHV5xpS87cbniFkV/4XxV19+H/L0qkSyLkxa2yA145V79CdHvhdTzF+ft62gvQIM5THhEM5hWYco3rLF6qSCCcDShePGtGZSiZAKzRLoaBIucwXHGFD+UsXVw9T8s/Mf4axW7aavjbgcObET5dcX7+Fpfl8wVbQyzW0k7Jufk7Ifz+aIMhGxLcQWPk8gEnU6LlMK69AnEwqSR2LedS4oz/8Gr8BpO+FN1QR3HFkO4alg3P4ZcClcENCzWLlPtmBHqoN8nvWuT615baz7vR5mg1t390HqyUbdU+s9mOzl7aepiu0luLtlRgoSqYQyf4b4UJu7PsjKI3Tvw1NXj07emVHDZSOfiLsJnoOh3kRZGAdtHDfjReq3fzOaYnWIjNXnXh+17GaJock6kKqAU5jC2cdet7aanqFSS96FReXrdMhgOsFqXB9xKZG75pVc2X5yqcUqBnFrbtlz7mtn6qQfK12HA4bTWO+bulrfyVNu95B8Fp1LsDCOs+Aj85slHQD45rLCCg88Ag8HGwx6oyQvZRfOpiIWM05g2JdMhJnnUADr1CYR0bXHRA5aRQZ0pMnzGe4UrRfkyZrOWVxjUQtNv7SujdfdPknw579eqJ0+YKcFR3HACLND44XnfKPfWvTyycgpLDgwN9EdMAvdJJ9uk0OUgvouNQySUILgVm/6FPubDxzUEW6mkcV0sDJp3sFccJtbb0ItZ6nJWkJWwVe1uTD5AKMfgG1L+roKv80SItnAL7/yhGltsTGOFbIJWqtAUsPmS2EUjxx8Z6/tVg1WXSHdmHrA1rRxwq4AK4nd3GWRH+QhHjoyciuoutiplZPAFv0miTUnP4qiGr5ogNtEUe3D8sND9sXZlVTm6VGAG1kz3fG0YnDpyESUeHqoDM9daGARQOXVvDRYGn40IZ1TPpHYw8nQHr9n/R3IcNTLYeZ8ax5UjRF80TpoPi6hK9a0S1t4wF2uYJ/ksNQHIijjfq2Owpd3j0nz2xigITfqKWN1KOa60uSQqzzLXP4HSeyBskr1nMysLWH4PeOHWHrxq8V90z9xmP2CQ4s8krQKuXoneGQjI7Bju74kkeEJSDp1rKbrchab2/TOewcPXJE6L3LCPWBlgA83xrWGMWQIOZqCn/k1psqyxmvLsO1SnS/4wLG4RHWzX14DJkSrye3ay+0QB8yGkijDqtyCERI4CV3ldYjXEbTX4DLEwTQsyjRi5KNuEbdFjkOLdfLVGHNOrT7ie0514XymabODyCXZPd8rAWv8Soj3842mFGgwa0Fg1BNuB/VCSIKL3DkfxQKyHKwfm5uFlK6tGxSsgs/0t47uNZhJWHYRwk9K6/OtT730zubipUSfAax/YlTyuthy5gyRJ0Uc53EpbSDOZkK40hrHfRmO3c1/1Ivm1ycqibKqvm5L57JCVevlUKXNer6wOEPk9zu76xItA4CEAMWVvp7VYkqeYxg7wlp7pyS7mOwgUYmy60FnNzpNViInlu1BquK9vxiWCs8gzTTkA6VM31YcE9K4gi+bv4/LiRRnfOGXUlHTQOyElFg1DjhDdnr+fz2SFN2gSrOWr1Cw4xzuU9pxNyPz0T9BwoKkjwk/DbidzjKn+Bka1jbC4F6y8RxLHFl2ir4GaPMyr9pbeB9jDLvZTHrmFqR0LPgEzocgu+usprrm8teAwPtrHpcoaoNH0Vt6tywGWqjJ9An8MymQo66Z12Ka/MtnPyigYOYglPV4R3l2xp9qrncBpOLkOp4mARo+aDECZhUZBQY7nhqUX2XQO4fYuHAVIIF2dfFqWX4BiAnyqQzxE8Q1ffPpW1Na0Lh0t9MjhuZKVV8mXhuDVHzjBLsQHjhGv5E5pmGnUWwQJ5ZK+KL95EgVnu3K4U/zAAwA4RbZgp7xQtXDsNhozY/WItq/sXs70yxUxWj3Dm+B6+keK9HeUmoUWVpJcEKyk5JNlBKJSZaCvx+ok/mYy5RF8y9skyfCOVm+FMH85rxgfcu/kfPqHnsDcL/9NBUFo4ooBFEgolQZTDjpRbDwmFA7WGd8ZlzmlZfln/j8PEb0wL9yPmaTONvUqdOTDDRP1h/f4IHj8iM9nguGXUfT2juiBhhKzBI/mjA9Vadq/cyVBpIH77KdNkM9nvHBrdjk2rVHc+ivs4mB2UHo52J4rId1oB6JrOyTA7B758RFNmiWEoR81p59AoeiQySflkR1FEnDcoGzamfGKCi3k5p0rBCg/wurAJ9qZ9vnK79gT3tqqjnofYEfwIxTTOcdTo7blMvseW5pa85bxgJER95sYNj5QBGgK64q8se4+SuWoPInALhYQdCOZ3Qs0Ny+ubXJQL1JpQ650rInk1iT6/xRSkFkN4U7S37BLTCp5R17pqxPDJxK6TUPpt8ibd25cigRrXR7b8HhrPjgcq5s9DwA9Gs/lJc4XA7t0KG5cR1yaPZtftBdmWhvREdiAafeldMLlkx2bsICwOmT2XMt0koSm6cYuJIHxnGT3qyGLUzyjwLMQ1rPccWcAPRBRRpUgGGHgm0fiyGItCX/ZpOvycyjnHJxyrVzqLXxtx/hXzJjCIOvNGcgVZOMB2ssMZFxslci+9D0I7ZfqkGoIlH0OeL8X719tCMkXxPOUXq41Mn7FKfaeu7xWxumIBM4qCEGcRjZkKrkNAoXg2ntkXLf1mtj2v+J9vpO6FrH298kIScO/Lk8Si2fpHU/rYiRB79uX4/7FGCPU8tDuUwzC/MxUxlkRtVNwOMnT4CAzfgffEvPPzomt5ZksiSVeF/fNZSDsJhA5+CsWbdvHWnp0SHTYN5ylusvNz35PB+VUEwG641Cc2NkYLmqfhdrNANM5eAwmKZYzkwPKAuia8k10i+5MnUZuw6Mb3wsVobwuRQFRDU6ORFAjwBOgFdHd0HwBwauq4I63BCP73BsVPlqvnnmNtVc9u92NHifhfYNMFuVFhLPZHlQFX315dNVwDJtbDRykDWcMjY2XE72s2IOZSe0XOBpaXF+WRCtV8KV3lGKHpfMxOLdM1hZf2/e9TCpf9fmlQUv1LfQNQHxYjmwJpP1Cbl5U2csHTuZZmd35EcRsZYe8VvvuLimfywkTwD4mr3I6wCZHcl8lRM1hd4Kk/iBGi42Z2teg97z5TU2O7JyKyn+p5uLQ8LSR5yAP8gsFAfYoal0slaGR8lFUaSpZnrWoSbeJ33xeHQ2hnbOSWCHvoyCZEgU1Mles8fMnyuYIN/6SoC10eK2PfFLt8WqgitCuyVDHCjy3IUDq+E4Tcom3bXpCkdgtHB7pv0vAZRxH+UIPb/sTzTEfWHV4xrcP2WSV8FCPayOw5hQfwaL3wMHF2xH4iJwbHWo8Epm7irnIvcCpJf5QWf3yqlePOdU2p2AjDK8iXaTqVBmGg6GUaIjxoZ1XeUFgNBJZlCCLf/T8TjBqdHy3gVQrIz7MJW4TcBCyrdVpv/0Hx/AdaIJNrq/U2yY7v9y2x1ksIsqA9lUfHQgwLf3nputtOAKpIv8dQmT+74CiSs7fT765uvwbJDptitAId89mdJJnfy4Gds2I0Rjvxh0sjLbG/nIr657YlSZP53dNVaTnwPLSKd4CGQLEPBgD+RTnl6O+NyQ+9ZL52vuOOMOf4uQPRfLjKDN90Dzq+K/861xXxyWeH1fuVPmW6CX2vWFv1sgVkIIVm5zrI3Nyk8tFQEDNqo30wX/EE5Eqcksha0w1gQ40m//apVT9tRsmi9pDreCeLL+i6NLz9sooKIj2wtx6jaM6b0olMaV2jgd8qrKRGT/YeikPcjvbxIaYLHxScl+PIz1JNmPZgva5q3+wj6e4ZUv0d+w3mLRupv2bhB+rneALayMWiOxZmYsKW4zXPBK1tO6vvy7gYx9Kt3H5XeHAN/Y7VRYIaOqy0E0olqF6lBBgG5XSLmkEg+rJsFl7GzT0+qmpwWzAg+OfWQHrrF5588yjzJz1sglGoomSLc7YGSk/jrdgU6Iw3s6Snf3R02hjxQg9JAooIa/aAf7Z1sawY2Jq++yCQm3cjr8FOfDu2paPqIPxcai8OXO6+GX/Xrn3hKiuWS7f5Hs2ZLynwUg4ICd77SsB7Ju5z5KZSPhyNXSRz5vkY91TTSJ0/Lz7daiGusLHnB2WFOPwZOet3Ow+uExRXkNT6YY5u42qHaVsrtf0DJpEyNtXuw1ZLHggWulmC7uNllRT2uJoE4UFJnbe7OUijvVFOTtp3CIRNrFcPPu6tImekOBMSBKqH7uUnfUCAndG+EyVZa2JlJaT+v+fc1bU4Jdkg/6zIQu2NY7qAna/OyJzq36sc+O+02o1/lnpez9sHvwk1bHXRc1p2RxCm9fcz3gkkq6kOp2YTk3YAgIACIi+hyg1fckjXk52RUNenaQ++J39QlbdBUIqgMR8W80sMVxkuy/wJNXUMmX78q7ZKHk3YtU9px2X4kbMmWQ1n12C6X1uN1q64rDOnHyAfU3zg9/UGrDLa0NW16yhjI+GfUVzMQvwduVBF+q8EKOXNygebfP8wD2XZ7Zmz92PDT6mLCn7/9d8TVQqyLjqxily/mghE8SEcXVZuHJy0l2/4ewFL9jBqsDiQA++Xw3ak8DPXKRGaPspUpEA7GWvWEz9iiXksJRY18WDnq7Cm9Z8QgckFRCjRPD4AMNcoeF2i5tcqhTU7kM4v5aFN2IGlxSe8AyinmJH8g/7m/jyBcWQ4sftTg3p+D3ih9dugNRSnt78ZHN8dDuZBU9Al9a6T0VtPXID4alNNiX4tsMHoXIf6xOnUPvSfmSvPNGNgtfG38iM15r3ie8Hy9hOaID8eq9kH18Rk6Gb9p4c4BTmRfVNNa2tOh7AOhNxhagKy3l3cMrwotgG9Ymbdh8p/icZu1luP8cVe+S/aNmvXQyUYsSKKi+vmmqPUGZa/kLgtNsC0aaQBTGuI07VwPwY3USjOqAc0UMyVAhHA/L9u3gUgZOkMc3OQRgrsaMamy2I8q2cIGjo5heGS28uTrzyinCD1TsAf+Dzrfj1TrzMTQt4lMiqNfbfIMduChlVD2bdryJJcQriWKAJScsNbIWIHKjjleoIRw83gH2b/wdHrLyw2SBKpQ5rxSJKSj3aiHOdUNM7XoaIvpXa2UigMNfV0TyqXAk45PARL8LMOq0DClXpVmgxWvhxSxxzDFi/xwPGF6XsYVxQav9gpdoLfI/Uzl/BAdWNpbrkqEghjz16ioLIWfxohnwM7p5x4tyj69DU6BKHYcZ1i/ilJrCScZ3DH/v0If8maZCA3iLBvu+G5yO9afaGhu9ugNaQAD7Q9+iwRRR5W3WEwGYSQdCPv/NekaXtNePKvpsnaL+R0bP67ig0u39ttoyv8xN+6ETdSa1KsuBYnemX/EN2kZ2Xyko9g1IVdEUyGdd2Hu60fq2y53IqdAEqITRPHOqTirP9/juUX2VEptnO+pOFjQk+eHjvmCUdeHpO+cOzTazqSM5RIIaup9xJJrqSBlBtP6XrdqYFCLNWwS5h1OMdPHuWTMgt00yM4XAvFKHhOrnywNiicVWGONT8j2rrv90+13f2HzNB9f1m3sl7B17F1bIkgL7LOPit2waaW+xHk4hsP7f2EO43VMAWMGQ5cAOqlpaMMWanjzuR7+Ur8FVF5zJireon6c9ZrY83Xl9RQyZwLkCt+rj+6OZv+m5sM0Uaq2pjXfjufmtNKW0CtPX8WuE0NpOKw76tOMT7emrYU54SzixIreDuj/YZ+pFZXhJhxkvU65t+RB+FIeq5Y6D8Q5HmFGjwSSwZHyugunkpRqJ1VtXSsGABj7+pugFmaNnCJxjUUj76gBWI/i/m6IYOWLpL9Cp0cISCTkVPMdOeRy3kn1sCfm3a2ratnGpzs8oLjWbz26f+9dE/ftwQpZgP8fNYtuacbPuNnWFXNI8YynFVvKfKrQyt9XCo2Mgy4J/B7rH2fVC8M5pmm6S75Y5TFx0i28Tt2+hUlIHKdcD1Q3MQYjqRNuOz8DP78WQj+L4hM2MAT44WJvbRgWgSQO7tIjWEZb9nsazZotVWeplDFfiIY8uGwBTWO6U/D5HEMtNuw63rpIMMBz4jJj97eWCQSHYHbrqzoYoAAv9DsOYERcv37HHG8GzNazSPfqZw7njP0hhQTTB2w2nlwrAUFBvbKDGqSBpbKy5c0rJtry3i8fPRm5MU/9KmvaUJWzk3V0++wMZTO0Jl8JTy58LxNlVGM00+Gxt9BIyzZJn5JP4RzLEv5I11QWbz3kbb5JUi7rHSyco1JN1qPI2g3mOB0fAjb4qJl+bIio0MpuoRBuncDExwVzLxlGWKnRCIiCJACdHyLaj0cWtZvNvTIR9ycA2f3KWa5dPwOAl0nt01nUifnXIVGjI92tVIAB9tRCFfHNnL/XtLF66ck1SHWL7mFwm2ThON/EJggodYQwAavNoB09YzKqnXnnAG9bfS0oFlpmkwXLBNq1BMCwFBhmJLeHO6qOmNdzVXYJCbAxY3s4iAQPqitBsjVTXz0zjEJNnn46Hd2wEiDeoZzf3zgnZE4vAxHcizjr1II13uTksxfwMUJY7P8EjtfWeoQiblmImNx0aSuvRcZIh6lWU0dM0JCm0kV0CHYvrS6w/wdR29xBk8qZJAtmlNZztrI57U3XKdawdmNf+sN8L7PyUpsp6RZ7qDZj/NpSmBqzbrGFu4NE8FjiCeuAOuEqHcitY9Y22o1+oT4phDS0fZeHAjw00AzYJUvVbJ+bRGNRdOB7IxztDmZKsulQ0FwuNDttwXId7YWkpYx7MsA3OltnawV02mdXIUQenfYTr1cToq+Q99fo8ZeRPD3GGE7p8rzZs5J/Zz54LYu0OLYYkzuEdOjl66aUz3g5Hh0R7yoEtPkEtXQ320a2o2ZWXez+DL8+PiZi9k29dFnxP+khi2IoESSy2jPoPw0rzfynBFCzu1Kx2t/VJsoF+gZLCx8OHBWE6tXl2RHGyIceE1TLneTPlWa4O/1XDF3VrC6i8RyaWBEeJRiZLhxfdf0GhdVHI4sLhSRE7wKOf8MQk4X424McHTCQAVYlOUEwgKfTXa8rhw1dncfKNrCyVqIVCbvjF9rYpqM5Jd49v4+Q95slAo/lqoG9woM6b9zlFFBPEACGCZqHQouG0aO/PIZ0hMtdcPCTvw7iq+2yud0GgewkQDPtUV6I8BgOygYegImltLYtxqJdrrXSHhdHCClfuQppUQUXROz+00ClHxXQZv8vdpaDVTphm4oeXmvV62HcKVQjEGrvATG5fY6/Z1O2nkteoO1G1hF6YQdkIEuxE8itQp17eK0ZXDHiFy3umq/je8R86ImVgHhVcwSpQJug3sL1FRb+RQUUzA2j1fXhdJAUHnXrbNsD9ayY0mf0geTxxarv8ULJafzgeppF70McH2D7pxwAJYCqOu6QBz4My0PXTbGcTGD4OsG9b8B880gZq8ERKyo5qqy3wakBAXisiXU+x9j6AFFneYeqvCRTtciZ0DaPevf29nB5sWeC1wnu7ZgnEvF0RRMjTtfWVP/2C25hwFoM4x4aRC6jnkNrjQXoz1LV3/SLPvrT1UKKZmMeQkxRAG+uNrnN3Rk+ib7Khy9WXwPtFHxFQqQr9xuFTi4vFpHNUUTcOdO4jBlZbSVGsI6KBrDDaVdXR73vOEzL4sp43PTZqM+H8yTpINcO8/Ubc6D2//EqxnPCw6A9Ma8xi36TETd2bt95zeKfR2DybvrpON1nqUm/l9qSQL8zY1wOnGuGySKlXXsjNdrTjkXCnWwkLmCuhkxGUhiQEVHN/7nfcQ14+J1vF1/Jwusb8EtpJ+L43ptBfXandik0CNX+Fd8vQmJfM7SPzNy5qPPDf2YltVLg4SyJ6a6Ls3T8rslgApkHJR9zBBlJHFqHrigQMiyXtpo41XfQ69SgGtUSslen3nV7I2exnmfM0kmCJTs5U6/P10o5vzVV4Rp1T0GR37x7DlppXf2AlD6DYPKBL1tlrpEjLg/BGXrGDvROemw2FJzmZgBAARWrekaIbvtTcaGKBeVF9dyVAmhMgQ81ek19vnaOecu6YRWSa5gniiKYuGS88ZgCVm2X6ixbHBpZAcc1KFwzlOTm3msv4NrOAqCnCAEDBDB4Frw1c+FVfbVVJESeyI8Uaq2zNgCrcDmG42WASMmKKfSwxs6WzyB+jgBRAsLLb55zpl6ZTIfBebTFLKOfaFw+RnDQBWYI/M9Mrsu2/lt+aSELjGwnCXKz0UXOpHcO2oFF0E7kzsptlEaeMvySNdvb5U6RY1N7VF24kBDMUIKHvJAwoo6LQVSAk+c8ULpuUB/SysaJwrKvruxMZK5Rqdy23Zu0s0xmvQUF6BR4CP7EQTKmAiKu5EMA/LoCr346sloAg378H+m0VPs55ng9MPfnVHS0eJSFTUE5wCfFjJ5pvyQcURMs+6ujd6GH0cnbBO/V/7pcSZiSKaa+rj+e2HM6TpIkd5aBwBDBgfPDmozuHNsOTv2Uxr5Mi9XsnZmCQJqTy/cgYJ1Vm5/LOwPCh34eYGuXOQwHuOyFD6uYKi9UZOECDNSR3m3lkk15mARGvUG5td3+tjDE4DyxUTYMP35HdH/OUPY/e4rI236c9fOI5NH+R5doDvoqMVJMfRShTfnMDccn+Y/1mE8P96S+wU3oYWsToO3xq6urZlGFMKglCFVCW+Wii1mroBnomUfTEuudKGFPhHh+VYfUQhWTHrVRrZ3aQLZIO/eaCs3sy8NAPXYmzU4wUKrrPZygfU5YifPsP2k/VLcByMoWOotMwdEukqIHntrRFrtxjldjWDr4TuPBK3/FGEVAIQ+MGZvpTZ9FGf3P5cxeYsyZSm0rEajfN987Q8E4rdt7GhK2vZUQXaDm9WXAtllHbUlnsSGa5QZsQh3ewD38X/l/4+V6n8BKkW3s+tztEsdR9l8TVpUs8BUGHKEMHniqECxCo32nAfdouKr2a1AGOao8SDc3x/piI2I5xN/ak2vJYuHTRFWWC8eq3Z5KrNHf0iud9YjUpkCNxv46NsE8tUvs78cFkRIaDSSWMYuCNV0TTCZBJHEP9If/cDB+zw57E2augcCt77GctcrSQ3noJ48OEUYAGrTxYEoJSAPzjsYTy20vidQ+AwLhBnmQfezzO4zjbo6LDkMi9S6urDc33u4m8zy34wJ/iuLxL8Ix0zsMvIz9MmxESKbavutr4gwtm2pfHlsuQ/WFrpG4Cka4rPJRWUBYSZpd86aNbXh4Wnquvy4uEjCjQzNdXjiAxEnlv7AoeJvYlqzQ4TTRWHmozHGzASwgdyLl0oY+JwyBLy4aWZtEv1DUQGSZFz2zVFPado7IwZYusQB77xQG2qCU/ufz6uX0hYcvdLClU7HhEef12kELzEEpxqNm/ESGqCaCjvTpFWTU9owMxGq+EvnWB4PItO7RnX1/tWj6f/TEeGdbnm6f7q1zy7RuKdw7O9IcMx/i7L2eH8s1J3ZcEXqcSLB4p3Ddtn3hbfrslx1UbwjBqVMd/DfexiTKwXGPO1bQLUSOUvM0io2/bcWt0vrFZqQzUjqlXjZFYEPsugef8q25QfqAz61nWCALEzKry10n7z3kTCmfK3QMo8kXkIKoXKgoY2NVigbA0lzBMVYlzm4bEQPB6dNeebRrr0zzl8t3FCFZtiRYmsbsqgKZAE7cBXwB7IzxQvjkYZ6cQQHvT5AEwzMD870QLLx422R9UVaz7M6v4wGDNJTEY7CHqcpoioSzB8uci841KQszdCLybEHk8bJFrAEUCdHcEJBPfv7bgL9/aZGoniF3YtZS60NOwZ+xW3zZKq0mFu08+immNeQLVnfnpVH72wg93//GV/W+3WEnMabFkBAbYJ1CHGqy2CQQ8j2M96+pfxRmjMvR1GevSlsMet4lSu7BVSeOH/RZ2pFZNWhwj/QEKIR6GY51JiNn3ZPXvCI7NW/HjOUWbBSzRGTVuamew2efPAopJ1PgPgWYWrcSz074hi+fr2iH8J38SScWdUc4CEZp4cufqwHgm6xL6bzEB8CAdD2E7b/MReagGKioKdW8zf9qhnCd1KsJ9jx/fsMUBFjPsk99MQvXIApwogp3MeDydAlvBGEq8FTsYeUlw5AKN5dkJOZoTJWUWleCqfxnkNczf4I7dg/cwNz0ZsgsuXzFsPl6QGqXtjsyHGxHatbtbCAw0pe+IFPaL23S9yOgAuutMjTYvd1t4sVTgKy/COX2n8lst3gNfxfJ8TA9Rcf9CR40hzd/NQoIPDCLU/fNiQ7NptDflTxh/ElrJuZs1XPV+MU0ecGh3ksFhzi+oP3L8iJ213+/VBHXd1OhzJPRWN5dWVkIWRxXccd+rX9f1gv1ZbwhVIqcrSm5lSrsqZcRYvIbzlyGKggyE3ZcmqbJLom2gNOBOVFOcRH7JEkLiJ8dqdTRxAdVNPMJHZm31SN3N5Y6bXa0TVphY5hZX5d+TQHtHap0iO/v1Cgq2HPq5F1TRLzVmDZ42BXAOYPiQT24M1ljdizVTZl6t9p/dIVbY5B7OBaSvA5195KoOO8P6WFUbsvITf02uDPdjIx1VZiWOOIBvCjSbs/BYGAhJTPGr6z2CPzJq8DbCtcOw8fUfTDIpVvKuMMCIpaHdt3jFljv0keKxTAjB1+MeZ1lDBB21E57lKHrEbJHO8RR65n+k31IeuW4U+OB2Ml8Pyk173SfQN/GzPZEwe8/1dS0zmlbfbVX9wdlux3TdvUKMzfbDomfLk6B2qQFJaFh3QwenrGV9jjjHJt/iRSWeBhgD/p5VS7j9jisPMXdXYKb/jHt4EMYGDnB0cw9nJZ01hqsfvnkCOIxzlnWc7H+5xbq71Kb4hvjgj2CkZjeyOmHLL/yJKylM3uGLAJSAMuabzh79VUsBYcUzQzRZ7e48LlABFFiSdCB78lkCenXTjObOVGrHMYklU42utgL9fXST5STAEuKh150GkE7rzDRv5MTnwWlH1zucJWaZkrCUA0dENTNSr5JKtYF2ns+SZ50+mg7nrU18V6wovsKmOdJnfgBKC2jdoSLBjgFrriD15JCHp0BjfIx3Dx7IzFrAjsBz7Feax9TIMkgqiTfvMzKlgMkpbnciEHv8Ktr31wRIYEUtPuE4jn+0X4JF/fXiBpUlKjqw92bm0Td0nQ0nZ4wi0dXjVbO5CvpPAZg/eR4FqvkNfLocFgYANIGLLrTSZc2VQ9cK3ETVu3DZG38c0q14r5dpSmK37Bl19JXTJD5Yfnegt6kbiTiNKyvMRysL9jZ072zz+bCxaYrnXfIGeRD+G1bbGi37oh5hIvpeqgBxi2JyCniGL9XBOBY4l8uZQO5kx1NnaqKg1bVTQURdHUNcII2ceL1MvUpR9jxnAImw77Zm/Qeg1V9p1uFyklXimOTtwF5ARxetV1trsialc7B8oe/B+wr0iYmh7G13FzQ5izx7qxhLHlf0Mm0k6Q8v8JUBgvmQrqMRqGoY1/VCJecW/U6kv3QlK9713PKgwXAsmtE/8gEtaM6offYSMiIXNtBVPZjbODVxF6clhV6igB4IVceoCdVGR2Bh6/X1qQMcQc8LeSzexV1Wtu7d9D2CgvI6xiA3ut2otuE73Ys6eq78gAPFzV21pePR9J4znvS7zdu1TBQkmQNhq9WXTUq/lR1DN9VrUKzMjyy8fbY5if3efQcacIWjSyb9yYSCOkEfRClwaa1hy353XrFqJgsjL0AxLeH+R+GDhBVHa49f1rn7ltgaL3bY6KE+PJ5qKM2nZfOXJGyCmxlEMqTMJBTf0OxqgExA0npYAxLT7UfuT1/Ij9UYODE7oXKNOccLeEQAUchPcuLewr58zWu6wSG/OjWNRiZ8WZrLx3s4hnHjeMqyZwfqalxHU48MRKCk1SAiYQUIW9VPJgkiMAsZHkCO/dT7Np8osJHNu902kjY2iTUXXjOUKArfu6DCwOLX9Qbh80Ch9Yo5CHbYOmp8T7LTiEGu6G8+YQPUQgCoX0KypmFcNL+zS118OXMML/inG4Gen2IJdIdt8topn6miDzRYKazQnbZYCnLfSc30P34BvdCxLzpDQUvOCNIHTw1NbrRR9ASCxlFrfX4h5VSMZJzx4bw1tBNPHrsjWrThFCZMYPf6hACuRYwWKrIWaSomhcS18cv64oL1u2Ts+RI2GvZPPbGLsh2EO0nXKPhgqVBnwDR2caHcgBcR7rKccqBXUBbsyUTQrGX4pTMg9So+X23gxMNw0fLY+PDU+iUnkiP371xaZ5xSD8ESpBqPmP5DF7Lux3iLXJ0wml2qPtzCvNGWcvL2wNYxhFnExcX0yy/hPNKYdt5BxJXy9E4C4EeHMRMtM4lKzjCYdeGUPfmWtc69PwdGCriITgsJZXzGuyBBGz0WAZd7/qaCZHVlbacQHEFVUmGZuov1fhJQVWBiA8mbmgJEnfa1QyFI7uzf//vgN6y01ObT04a7M18ZFMGUsFIRBOOBN7IgNivZOkv6yiX9l1trxpyg7x9aqgjcOchxptG20HWFeD9MotjKZmMft7bOTt6RUEtHkFrxreuamISm1I2V3wXhaZFt24f46p7Fh/qglT/28EGzSoJVn751iwb9Pd3uY2Y7xYZVw5iBx2aIWdmTSBgH1Xpy1mMZ8t3hoPpfznV0fv9Z3IhpMVQ1XEqwOvAINXZyonwRVjoftBAaDoyAlPy42u5BcXoN3wQmnGKJIfTRbw361qIIEu1s5vcaehVOQV48zkugr0Kr7zkr/UdTShCgEtcB8jvuhstMbLlhy84TtWc38qEY4kRcPrIvia6jJ0TKtu74IpHojhxC8n3y216gjg1jHHLSfNaSQBCgl70EaIHMs0jJe/Oxb/oIsfpN3GYJwRZGLqX+JNe8WC6rC7cr9BBldV+NDUBarnSs3G78pl+od1XbtX9ECEGIjtkDqyET4N1sxQLNnIFOHHgR0ulplsadlb8ON7aKrsmwf/Hv5pUUGcbIn+5R3r+Dl+ER8OzrAM8bk4INBIkybN4x0LBK4IPRcwcitwf6dsdB8rXoaAB061TScIW1D/VX5QoFxTX1OdjQQeGbiXY3KxlnrqKsDjCbafJS0u7YQBARn6/tJOorMDF46b+ZyAYG9oQ9GwYF2Pf+Vur9uNhdEkioS2hQlpqSz3TdLcVlnRTopEceLq7+ZUJ7V4wXfLtCjIaWJemuRilZF24RWqdYPWDUInQT1U9Y3XlwIornYrIfxWT3fgu0b1hpZc10IzHMMUiqi3YuKxFP5sHOYuT2QNwdqhd6lvQg1BxmxM9Tj619pbBHs1w9XG7p22pqRNc43NaZTBo0KteSmkDA2/BkuMFqKj4GDZV8/z33cppTfPvaeYSBC05va6K1mrfn5BC1losnJ/217TfOoQQkPJtKI6/9rmkY1xYPULGpNjckDWiHjxGwJbDAtDxoXh1xjX5qgLY4elF0gpi1moWS7L4WpgnN/UyHvsPPg5nlH5fcZO3CrpMnNJRSWuKTutQZ+ddA24biGQMWG3YqkMVSbxMe3d7JmFIqrIZybkwafXTAedb0Hq6ZxK2iAGwF0BfhiSQNrjiAyz8cTpIRHDie3LzJ9D9AcX2eQN/4pcoA02fbpfOor/faJ4aCOe0gwMs/J/l9MQGMsWf7B/2ZGCd+N40jMVoQUn1w3ZBnWS0EGEQZRaX4IS2f4xdqjvC1L5HBuSxhYU3C9A5l21GFQBTcY03gjX/Tas99l5qPuJzyylZhUuEatKjbX7aVL/ZcgFTuJpDtG69uwHq0s/JaVmdx09ph2V9xLTRcuXaxdEIcM7SmWndJysQz00anp/08dHkJb6N7IY2xT/R6FnRdRjyxisC7c85aEGHIKO6PaTqdo1HekvOjSnITEwPP9vCBqPCTU7hRzWKK2e2dlSAhcUbeTXM3QO4WCzINH+xdCZ2Nvu/O3tvY6l2AxUQkQfsyprVdLFyVAJPa3vneCQEWXpaD+nLGzbXwmdTP6470jFErL9ElROZppo/pk+LUA9TZwsGP7Nljhi9seg1K7aL6Kc+l1DbTu7dw28RNwdeeuq63AKXLxNRLW3yhzRDjmA6kDVDlCtkl4VVd9il8Yrc9llbMGFsNAXs9hHUxWI2O7m/yjX5VIXFRcjoaiuL8ivHke8RP0RKGTRbVButKKq3adRM0MparBkABtHsKQPaCpajIvTkn7RUYxMIFHs1FGKyq4+lk79pxo0J36O9VblY1yV2cr3csU8WoAljq0rdmJecuP2SD0bQ6qmBxJddeVkFSOMsZQcXAPQR0cEiBKjetXf9HKoj6d+FvuQhQVkQgbKK3J00PfTIUEP1nkMoEnSvngk9Y3j+VlTF5dLHiMHmH61L9P+Bu0+ZAXctqozuNI1Zzo87USj1XONpArkpsplKsM1tqa9Gc7+Rl9qRfYJ+3yOmipz+EvkNIpwlznQEXzucM0FbX15BniPGqHCUoxDmIhFULytTtOJ77bZ7kuPj/OmAQCNWf6mlyqq5Ii9EIj0tzHw+DGP0XipZ5xdWgTG6cGJdRSJWtrRms+tZObjuSC+erx4uOLmP4LctoPqOn8YJIpx/RSubSw6w2aP96AV1E7p0huGqsbtQJXLEMwVjNdydDvgzBOZPS8FvVyT/zGay2BuH0+pBRwcGnTkFuiS8qwUWXEMhVY8lckmWIMk+eUbjnhLs9QtS64AqqMRsOxc2We3Mb1hsBoHXqVGQQMo+TR0Tiz7T4iqxQDPJb/2AwmhWbFXB0WbWCG02xF0ubuk8wZIuFAmGxuJsq3Su9ED3CiWt6JBoOALLS59Nxgy2wXBLtXLBnLXkZ9omcIrJB0eJKua1/OMNmpsSxLR6I93TXkm0uXhpCBKPBoSVr4OaVkRFkWkSbZ9TKm64TQyaE52GbUrNnVMt0aAFil387eFb0j5T5AxEwJf4M86zmYF4SGRAd5JtZel3xylLQHmT1u4XYcjneEV3r9QyBdtfoy5J2KBrBGbj8a6giKcadLxvvEb1b/QrLlhlC7+Ft++bkPeGRA8YGHbG+EPothhlJT17Y1LUXxEBP0lp5KyRbDruYK8Def/3fwjj3GRRFJx0uEj0TLYT4rSnDxWTI8mghBioSJn3kjdl0+TdllhXCHBrlmj0yCDkZ/gerHnfx5XO9f+skYZx++WYcxhkm9sQgk84MajLDe5ifIEChl/O79ditEKGM1AFH17htpUGF2K4RYOvbqKDuOTsDqiZ1/VBB2lQtT3ChkSqyreHunzw1mEWgkoIltVSpoDDuKHIbgAbDT2OEfZO2ea7m9SghknY4P2WxEQvskFOUd8ixt7SHsLhWHwhRVGc6/DyXxEbDF+tzuMeowwH8Z0KxNaZWfqV11dUQOURGIK6UPmpJdUgHgjJgET8t6+9eLwG4zo7wgSYtxumFB47jnwLkV52JwHGNVgEEbinV93taahOA0Eh2MZY5/bUObXr5//1br6SveA0P9W07liyXZcsIQI+hVb6j68q3xTzS8RNyx7kNFWtHLJP4zt8a12EiXOjRGVBu8KQHECykBqpOf3cNsEEFCm2Jg8fO1fDHcUghdagfqyGFzzKmuQpbj9Mrcp23mfh6gs/ekGQ6sim6oDMrXYEFhGvdrtTdskTD83LaWCdSurD7PKZMTBuSb0bwooj6Y/Fh0BeAhrU0faUk9dS5BrfboobffX63u9Rjvb/7OpttOH6cf2rWVxr/u1wORn0Mjqv0wuh7O2ht/Gjiscj5cPNgmYgeTnxJJyeHg2nUsP59YkiGnTxFva/YQOpTuJegMwdTZx9/ITTjzKN4lqE7QiRt/hY+SYOJYpApCRDmpmwtf/kS5/WrfsIljaKEuoXvOnsCk1mFh4iTinyZia9UMHo+gC1WGfGG6A8iW29FH12XCJdRxVf608STQ1cBCyNVSA/wvOC1v056IHPFp7i5xYrKpqwPIEcFTd6GYDWApisVoz4QmSFgwcYAnABONJbGTumAZOArCWGtLxXAFuL2sfwDCZfnB+SdiPc3a2NZLkWZmPA/MC7DooyOVg/smE/7ZLNmOO4TfteAsZ94f9Ccn6gdNrhsdwKgnKGOxdYUG7O1X2diaYNNmUxmKplwjcl+Ja3Lv80Hl71Wj6Iil8YZdaLYUh/6VxEtSCUYvsht02FqU2zYYidaKmncrP5eEyD4+fPlPM2ltVve8eWqREXiD8EHC9L2JkZzs/nWBCXWIaOlZhBFlfhHF1TOZr2VHALYMoi6vRVteG1lUijrBIOMLT+sOKR3wpLyPyNaD6uVjeKdZI6Byevh7PNzF3laDXRwNJHr4YYLi7OhsQ+bczzs2CEos/3tkrAFSarTFh7jpERBvTFNhpyO/zF5j2L1exEeOXmUCuNlYjU//IvMhVEiTrQ5b42Kl4o/w1bzSyZXsQEa/0vb4Z/IHFjSLsrbRHf3krY1mJc4D/a//w18Dis0hhmbnXU2XyEfPPnpwOYsRF464S79MtFRNfeCZVQ7Emrr22hNp60RlKCAjRLI9FTaxLrZngVfyqfinyX6pfJaZoho9wB6YvtQR/NsyMcLVYWeOJub/uR8bbClTYpkGXx2WQUxL7EPOg9ylwWowe95haxow9oDvuy0ZaOr3agEHzdxnK0XRSLUxfj2wHk423L/scsm3hF6smbTLysZwNoEsIJJxVmK+fdo+AXQK1TR+ouV5cIq7wKAIkPRzF0GDcUADxKz6WXqNbYTh81wY9gSrBdQf9BRQI/SFmHu8HWmIfGP+FEp1saoB3vRA5LmP1bVJpwmHpOXmW+Na5E6dVaowILUaKTlxHr9FVvmAIGMSBaLu94qV39By7Pk76AbZhXXpf0JdUS6Q7bYBodMSNdpW7hzh6a7ibM0koWSG0bdx9QXfk1s33JqakihWJlvnx4v2YBMcc26osu3o4k9qJeup+GOqhDz1/hAnwTbxKJ2hKjA6zSVSb8Fib9StZ/tOz7Rn9sS9ApZiOeEIRkalJAbIxpl1aGt3IDTpZ8NniNwclbaLteROhyN5Yec7iBucCfWfoIXygXBXilppd2YbAlNEbH4BWHSOIe0qyJ/8bpHr1NZ7z3kmW6HmEJC5gyyuXliLnuOYkFAQ/CcmPVRlKv/6AOUo6ON/vfYDIoz8FFQAYrGTvX6sBu9xy6s7+/KsMvU8NbzY8vH8o+mt1HOOVr0013bs6cUkxDKR/bwW1U0WyepdC4rEy6y2r+su9rfuiHIbPE5soGGhr6tp3XRu6lkXX5dfGJzFau02Hs/6yyaY/yg9Z4Z8XyRZyAFY6UQqz985dFzftaKmR4ujjVVEBjxh9yHlh3JsZI+Fqj/lBPwWCMeBm8QI2R2o1NXWGlpNTZyu2H4W+Uedn3OLp/dungHu/KLX9u0TiyWGF6uyaMEPrdVjZTJz7InbmbTf8B91jJXZ18mNAm0VT23rFvTDlgzFGYvOcfEQIh3HU+hF/v+Iex4oGY7YnTwlf2i3wCYe3A4Npw/azus+XQ8zDxTwrOuBJktIVUm+UlH4ZVBmGy45rMx7uMlEoJ0GlcjvhtODE/JAs4AUNvpfIgJjAEs5PdaqFNI0eLWaauV75I8oInqwNTNBlpSUKZFAatE13zthX/qJib1SSf+9rnnZlNw2umAWd2O++3LLhingqzj4DYilWQd0twhrYSTE/is4SFxOROQ5z8OUGjOrG3XTsZdMlYjeo+7EJBCtpKVt1G6jY7CA+YaPzlsDmNvshXTeDe0/P+x+aHFt3i9hDrzX9iEdqJJ/my7iL25B2mwxwzGLOzcJKCSKB3LVzXSphleVRG4IreyOIdffFCm7upECxsVL97d/LzXFLLBuM8K/8bKJv8PRxtwdyRh7j33j+5I9+uXZyl8aPUtlW4OCjQGVzU7URhp5U9Q55+F9/XlWInO2bObwg0DPYJCWQyDzj6bgO25hAQ3uA0CLdc3nWQBCC/OBQ76xlyA7yvUTavwxcI8Ophp6nee3sEiqeP/eTYMcVm2iqhBfOAeIZDhvWw/6TWdVLBwTuvhQDZL3WTI+xI3wOKtuKeug8zL0eEuqoBT4yIUMU/27D3WThiS5kcD5bbe69KCbkZN7Cr8xNtbRjs3NNr1LW5oT3UTb65HV1PoJ9INbQZUWJxfqXMrIg2TLYw8LwwVFUFhGo0ZFgQJTgxC3OP1g172Lff3aiNegboZnPwM+CNmZj3pvCc7axnXd2KaVxrU6uwaUb5dyJtcE19k0lDvVOb3AgOXK3q8apMWErj9CTFRAfaDfFo4YCUwxIo/MaUxza0C7kADgAMEa4XIM9D1+QTNU4ifBiYLJsS+S7sFqkxCLeCg1eIUReGTVkxxedBPKPD6PpkTYK1Ii6AqCRFBnxVciydmWmDD3Chc2CZgmXhSjlHUFqKSFTkhZNlXlcaTZrYngUrJJTxcNrroZAPp6HxVopxnXWzlTvsPGdD15fPoWR3no85/qRaB0umlGFW9EwnPCyQ2U7Qs/i2r0bQpDAxeKsR+cNvH7yEuCMactjSsO7LO/E8jeN+PRIyOK8Cx8Y25TcQIxkWarCol8PiplN8H7Iw/YmGkd0zj+65BuplzXfuJYZNP9Tlp325NQtQ2+fbGZBnWtEmiC9jAah4kLmeJXwE21ciriEP5MEZDxfRTlQygMnkjgTL1C7hyFxO7EfREx4Vby1bwJx5e8OLQl7cHJZTIQhUzbLvk67lfUkmYSnyAcdKQmnjHVY55bDhX1iTOjuqhwPAGmBezI9tNjXVteq4kNVRhZ4wKpGRvLv8tMq5hPQZcISBlpUeyOxsLClPn6J7DDLV/fp7FyqQKjNQU2b8hj1i8nA2z4Cg2Ec1trAa02wemqxbKMsGLjFEO+6HwloWXNZ9JEq30H5S6G+V5hCHNJzjxV2h+kFaeIEbNNFClu5b1zuFIVBeivomLoQZd/hjIA4eSjTxD7KNhVDdXwLUiJLEDkwvCgpcRgfx8nb9wTGCrt6UohXu0b/OW1iPwpEle/TTRyKi9cGQrAioLyOE+t+nZLry5eC5gxBR0LBYMp0nbvN1t70RBiTIrRbFVXRXpoaZ9l1fY7jbkhVOD/jXgGUBYCNzzQk9EmFQAJqnBgzwyXaGjVQoNKpAGTg4vgREv0ylGkEMVbxfY/apbqE2WpxHBinC9HVlrizp7GOpy59VwHDv1puvt3/QySRvxMetWSVH8NruqGCnW/a/RjVET2psEpfZGOhoT3QVX3AUGInR3duQ79BoEby4hFbbzwRN9l/fVjr8HR+P/4HkEWmO0tvMaf+d48buTO0SE9AnPysMt6bFvsnQiAmc8j3L7EVksq/WWr7DDpBXEhOD/+S55kUI77KIMP1ILF/nKDjXja0Dd1z70ROOYIhH4MaKSVgLAzYBteR4Z4xrbcL5RrXx6VAvYDmHobrTyYCG36tzuoTIhhaMoFzP4dFOf2ZY8cTErPO76p0WFEMhnRq/eR8z5FdolILmElmYBXDDVhMQGhl75rR7+12LEuuFVxx2z4+UHd6gqr3Sd8BMiQaHuuj159ki6fnqQgszXcutPHvkOJoNBc89W1J621nye0rYbod/7LnM8nMWPdBEqlrWZiN41QFKVEjFtbjP0bNXKPhCQ2xD78NZZEo9Dt+SOtmjxQyGZXS2ijNjE3Z8PiQ0MdqrqF18BiE5T6A/HfL29CRXUS1cV0Dm14pB+zovx9h2wEyBL5F4cOkWeWiMe1qze5QW49pSs6IQtdP319WLA7GHaanze/YE/XikhpJzAOgF4k4CDk3vntsQ8pQ57REe3TUKRyhhuHGRRR0PDmBj40+sUBbz7+OjvG8BjFqXyA4nJNIVGakOwa7XlLzNNPZSHYQPBGrA2BRvqVcsZAQWU/7as9xia1PYTx3WWKsPgNXiBVjsW7SqauTIIYUiX3Wzk7/+/wEwp6jN5qYzY12+S5+dgs+vbPp7ICJ2D5+ONcb4fYSZgyfrVy2hMLSMQmD8Lu2LRsri9NyTv3vzzOZb5lxIJv6m353q7S6xJyDHAAqYu75/w7u1vcVyDKu+FmwOclyNLbEiXN3W1wBiqYxxJObllLsrqxBMDRfOAWIbJ6z2PzHg0IMbXoS9t6JvEgsrLuq1HFw9sdy4Hn2lI+C1dUfX7O+eH2bv4lOYgoH7myZSVsZ9NM5Mr/pVexJy50BBZAj3aghBAdEas4Cw5in8xfYuIFp1ciKfkSa01s+KwHvzTofKaoQGD6jiiQd3lVeS5YjdUilu6Hr4PNe+/U7iS2aQZ2+8OhfLk3MqxKqoZPOjMAbZ0yL++DcYjYk9bYnA9LfeEmoThHmK052I+KIm9zrh+u18xc1Sx20pro3dVPt22G8HvvQLgFP+Vkb5oP33DAIRNtHZ9R5iQMzWB0aLk0dxvNy6erc89NEfUJEmYEaRkCN2bXXrqQR8H+p5bL259pc/HAmZ+70nWZjJFaPG8mMn93Ky+uJwnhR6qLNOiXSmVFCLyDKfJoMW/+VdDVwPMl2P0xQB+tLubLnnoq0iTCV6w1fUBDjMFPEwm7UhAQlE4zZFcNBIA5qBge6km4j3b2y1CMCSGF3W/WuBwK9qRqmpI8ME9vPuFp+FZmyKkzVYU1WWQEDHOsUIUU5/9/A8Y9mFs6l/pQWmTU+AOTbkkxU3/WmP06CBwc83fzsy7yCkjUKVGz5HxHS3HBe/6JHD/vQQ47r9v21OFA3oGgoMGZWGDH64Ciyq845bmZ1U8XmysfwrfYzZMC1mgJ1Na/WB8VW8mOoXcU+uFPsUbb150F6dD0tid5bK1cZxSK9zViERrMLNwec6JQhXG1eQg+be0KVYxeM9L5gXgAjBTLUJ8LWlbnsfXW7hJ5/jT/ej4W2bkqUdO4TwAZ3dLyvuz26BsXDx7fa3c9s690Vbhxg+9tJuM/WWD47e94XH81gDyN06WiHbBntHmRQ0GzPPRfXDjResB0L407XjLPsY2tSjH4lUj6SrmVroZNdmRJKVoJJktxNGOXP3Tf7buV7jleIztiK93dy0U/DwAoNcfWxYk+5WdNzzZMufJ2IDlR114DBUxSNORncoyKJmMTFrSUY2433TXX6XfaGTQ1AYuLMKNl1m6J1mI6jkck0p37IWNK1kW46U//qsvlb2xdO0Gy9gfTkBnyZFBAGbwbCLF+/IFB8uKXAdw3QutJ4ggnvMGxoSP+Nbih3IpUJ7jobTEqytc6uHwIZVawYKGMLkL5ii7++mZxsvmgX0S2bBzvrsfNZ/MGV1MrsAIQOUTQ0FD8WVPaeIdN7cHkAkGlbpqYnRmOFrtYIOLA2KEEJAKy8JU/fjeJEsG+/lCx7x+6ab8vfIYlpmKecNkNpJxJyOAQo+bBn3c3ZzwAW5Oa38Wr00nSET0tMgcavokNilafybnXctjikidp6FYM9/SJ+N4YAL8g/M/k+BGK7dw5k1iUBlkMydpGEDnxDl3gBwErEYcmu2Z8TNPmLDuF7ilZwA4U5v/IyJleMWynCTbhHq1TF2iI8HGNHJg1EE+Mu1TRnOia+iEnFlxIWHhIaLm2Li43OBj2fgZTry5qLXaotL1SgaQukEB6MVhk7FZnIyK5jiPTxrFOsbxsweW91XxFvSYP+uXTKIxTULROusiIRJGtu8nySLrdja738xR/c9aMQ5yJ9WszzlPFagn/NTtVKKhdbRqj6f6jOWMn3ACov8GgUC8k/BEFa9yOVDDY3A2p4WE1gjZ/Mqc4RcOQOpBKicK+6ZmXVLR+iG0RYCe7Y0MkdhfwDPPteLBv8BDG0lMYME4wEQzAs+alsb9aquSmZqztYvFV/VxzQuor4UDj0NS86n+QdYIvUHWhOFnPoLVJ76+jYgsscLOqb0dJ7JNULcBbl7HOfDnf5q9k1Vn81dV9feE14n1lFqEfiJS7m1dQ8LGXTypa1qjrE7dtKNEVTRHo+SgvA0duCySImibVRScpNuVjeu1apoCd1YEQ/kk/Het8ArCYrRq5ylo9RnQTWTuycxyFkk8YA37i3Ihkei1ThuelrLsbfzNa8T8GkDuX+Brchb4zx6TwDUnXkhsihaT4uBeBopi5f1pE48a/SLR8w8pI8G17Gx+rJ5LKvvFTo9whstl4J1LkJrLS0GDf7cGzd/Q9TnRquYOqnQ+Aj9noJfNieBSpcHKrOnS7orcd4RPlc4j0yoyvSIDLuPuug99db9uNPnZ6ywI4N92EvmPk5DYT8ocodCM5JCZHiyIqO4ZFLImeSgWTRwyVNzb8Isw03wuXUYvsXoHmPJy9OezplG1jr7ekWg8bEydt9DSlNbLFo990ZGSOk48H01DGch1iYzhT5+ODK+ZMe3DKHg+Sp9pAXuA0Ua6shehSU7wM9wkdQ5+xyx95qLjU7/V/85CEYhRtqkiuyftNZAF9OleiSFvZeYG+IFJ2ymXGUT8vg18+E4SZyFRu+dvY1pbuNmZrHA2WZT/pcUosK3/KZhiF+v920xG63oT1V1rWSjNyhUcNF9bdEaEyRqhsUziJe9ddqNLQaCCchtdPk5CgrvTUXwO/F386aWMB1Seu3i+tw+PjxW/Q+FpjwbbPRQwxtuTDR0haaRfuvrxMB4Q4fSeSCyLvdDntNC+IztW2EM4Up6fph5N5f27RJr/+VWKZYB3+I4mR2SbVnxsxXHyek4+yIEvMB8F36yxdf5VwSbfxOI0T5hWn3eXfMhCLSaegZrtkALUey8Ezp7FluRs1C1xWlaRx4oFokgFrOT7RrvmoQ619dUGNBHqmondyakWzxJG4SUO222A3Ia7sU24l3WWgliN74/9eTOo78uOUw5kBDvi17kx2jehrVyoAlCslSggxvFExJsZt7PGGhg93XELhMU/D2ni8SOSWim2ZiAiW7yvfvABaP2KVj4BEbcqf8xETneMWktIvyt1MytDZlDZFUPZcdKcieq3y946vhTE68J2jmYvyHWNgyw4C0a7tW5mER22iRZheyw3LcZ1MV/S3OF5m3Sv9S2RSJdaniHFmf27UL1c9K0YhOfqijX+OcG37NZX3z/ZYjwBV7E+qneb7kPxldxlaEO0Ke3CDqZYk7vQ5lgj9IDg1XaCxzup9z4pADgju9Gs8C+78CXPl+36Xu82T4gVR1RMmgrDZ0ieDyOAVgzqFmJtEX+ePckNZgifGLdpiou8x77qe5V+UnyaEQWEG7eOApQf7q8ijRD6R3bBbOTr4p1N1Ux4zDq+FXLbwmbB7K7S1ECIUiWCBHoB1ErBGBopqr5k2XvMZpNPPkBepytjR3bF2nhJ17moEvR1Fff+WfaYYINIJtzDFqkaCFBYcEGlmT0M+Yp7f5+jZXoaAyLunphN46AeeCz8r8PIFilxVpaCHky5geJUuB+v1cHniBMhg8xi5RbsbdTz46FC55LqqZVeMi4YzkUdVwdz44h3Z9ua13035tTEs7YicCd97oXs1K+S5jaEu3VmQgbqTWEMFfYNytXDGzEXMNEp/q93uHDpS+dUthFZo/DXrPtInqO7DE0oN9dnj+zzpNs6/sIrNgwASrOzAt7934c0Lln4IXd0WGCB06Epe2yOStxrpnw9ydKOO6ufn8rTnVTbfO1f4fBvWW1oNvX3DIzrZkEUdxk/qKmcuneZkkojf5MBRxxL4+IxRCyI47IP2Ggs2Tvt35R1lG1fNfMZOhJOMCVTzZDpJAw35qIU1DkgtmiwwbmMtb0wcMIKMYEfwTiFfVR5aKvDSv91SFHbEru7Z9rATd1muWDM3+rG6GvQskynQOMM3G2hmch/RIFD5FTTzPcVS8Cbgt9txElxiQZnH+YXt5Dx57Yv3sEH3TmY0K4FJPPMP0FZydDht7mUgmTIozlOgt2WWo3DieT/2RTs4sj37+3ziiF5tp2+0/xv6R/8452GWL+pWkKxdrDc0yEp6rndfwIzZF9rDk4a1TbxXd/1T3R3WOaIJ9YI0kMwzl6tViI8R9vFmWTQ0kf53603xjOglXiPDQ8GazWGezQTJDb8gazAKxx75EqAXmwrF2GRdYOUuxzNqtCNBtheOV0RwMdFkyQSTf8fQNiZZVt8ULKhccdFQoXO2n6E/qHaRHrg7EK+KjsSxcnEnJ6BLqQWs+lq63wRQwwURe8U07dq1KId2pNXq7x73kdQBVNtmjDvuQFMbH2oU55OM59jpbew7ispOQyKrkMn4dIW4fUOIs4JwCqkFl+6Hgi63LFLNFVj1k2SWhWdguCr2oPPrNGkVgXKAOz1/hXgYxPwoESScVGx7+KRbcAKzvycR+Q3IX0RA3e9NMHSFi1Q2tZDBTJsYiVekjVFZa13jrqjltH56NT7/SJ4nuGfuLdx8BeI2Q1vmLvkRqbswLHHbgTAQxYH3qbkGnzfUDA8KK1tHCNml//fchsWIhVPg56tiwLUpdalTmGSamK3HNK92Vg7B5lvzI9su8ATVyfMFiMNq8tsAoiUJZGsYq64gQS5He+ynQGn4DUkvtlOJOUOgNWsUQ4B70YdK/O+XAsdgxI177Lbn1XK/Wwe7g5XlIy+va0llBS9wi0vFVLjkXIHf4bzlehncMTd31shxW/AWNm2HhuIS/m98UfUlRJXyrHJNbIwdQgjRIcI//Dz9GjCUGKkEcREuArRUwGBnC5VxiLgWPv1Fb6dCQClDXl3kBmueoEkvfJyTg13PiqvsEKZ4+WM1rn5kEoy8bZuF01OjT7DqkfAtMHfRbExOahSueCdiVZu3P7IEvQ0YGvyho9seKwwkBQaAxyGSuAtuRFpdHYXLlVyqkfQ3JUQKllfPy9wxveTdFz2Lhb8C6bgZceAMU2dqSqiM5x+ZlrnjqwePtHrpB5D9bFIYIIBcXwf+2PcDDfdG8wh4kXr6VGkzkU4aSna5n20I4cVN9JC4dGIQJfjc69kBaMHhCXp7DwYSEhF6ZMVb0eP5W3AIDjFDew4amDwGdGZIBp45Wzq/D2xIhYasclr2biPyUlf0EOEHnMyQ7c95Fwz9DsEjEdMWdBrXQJ7MfI0zZaRkalQMrJHtSvpCrSJ9X669vyVEvaCWdcyRd+XDUNNtpavJ0hC2v6nSloTH1qh5H3hZB0aaCb/lEIiBNepHxhI0f1Bw0szJhAbmxaVNpEh4EYOW47uXX29oH0dviQIHEE3SVLslFk5tENAxneGaMqGLUgUY502h/6Crfh+P/QLORIV7byaeXj56RO1KoOTOHTxT39S14MLordPG0cABqO9JQ06y7wsXVS0gvdyFytPmUaJa05RUJB4FEzmqHNgzxXYD5JrcmUvcN4c4Aw78M0V1ms+3sXxkRZbKjJu+80jgqaI+1fzvVqfCj7zcqKbzBRF5PbQbXB9LTwBONuefUWJV4Kk+iEe6tKwKVD213oDw8pf4pr9EeU6DC70RKiH82Tvjpd5fCGEJLEfhugfvGQoKR/sJfJKS1Qmq4ots+lt/cC7m3AE1PjQbvQopkhO16o467LZaVtgQDhLDUbKpQlWOoSwQaqcIPIYoBd+PNZtwDD4xzmUVf8u2iCn8UyU15nzK6I+LtKhLKC9dJTFitvTK9b7qhgNOsOaOI9QvYETznTUbgss8dZwl3jrCZSYiVyIkLCIjgjMKI7Fkrw5ZxJ0UbmEIfub8fxPFX9H0JphPOJTG47YUxNk56d+ou/PBP3scQt6R34zUOi8lcT+gjzVS5MfdY69MYMQFKLWArajm/w7INmx8r+IokKgwPL+YhFtBicPFsWG9xOfyFzA0szLoDhFU88jXsrg2JDbxQXMPrzSecGTE3luqy6aPq4QNxnrQ61Z50m3WWcnwhVliSFUZDDCyXb/BB+zhdRXBmjmUd0yhtv3lrGVfSxf0EMwIxiYlSJ7MLfDpqTVq+kJfiOlQ2nUwIfE3mqBozuPsAdNNm2cYSbXG5jKb80EvOdXHB7Yf4UxZq0M5hu9yuL8b1227o3lmAp1VLVkQQyXyxnA32CkqGxdAZY34f0w4ExX0lSUXONFGtu+X1fGpUQiJf7+4TTihBGJwPBMwsFkTcL3eMjGBePV9QYyQFIJfTKzMppwtOZjYwedXbwviLqCEGwszb+gPXXJOSHwt7jqeU4BDXqCRL9gIo11ByZqo4UVabfOL/9u8b7+jUrwQe/+n5Tamwy044pbdWtWHl1uMIYdQVItMuMo8tC5PAT4htiDwSKBfbr0Q6pty2jph7mjsQrzVxNp7E8r8U3exXaUAbW7NER6TMGEg2gZu1Wmwxxp0WIt9l1gpPf7sJuTyznL6EUXsyKDbjkiwvCN/TKsVqiwUY1dTuFsvcVJWarZbgzN5k/Rl5qT07rHbl5lz332qkMxqDTDPSUc6jEgSKc9qJUjcc3TOK1OWQp5amGz8XOE7oTRiJHiMK9d92Pka4VmsAm2jdcEH+pp6w0kXQsEF0HqQCLS3zbf2DxhS2V8m/ascLArnNTLNBuB4CMrB2UkpWHkevQzZYB0wZgj3i+f2d9fv1H9H7oh1i+M7UO3DQeePIv0ItyDr3SRKjnQx81qUuvQiqqGDhtO4RJuNG4DGhNL2UoNYSoCMYma9HcpqJiKSDTgD2ZFQ6mIrqhTD2R9QXkFi+W9eYic9wKSOqqOsLFLLLEHtHRqtvPvVsvHC0HhO1CHVMJEPlGtOFcQngubpdyf0NjU7GNUdGHdCJZeFvxD0LI0pt6H57mWCP8DZnfHSRjyOgJv3/QcOty6t7Xv8d3kP6ikrv1oPcUiE9i+ZHQyPl1557Zvbr1qOHbLdzTTkGafYUs0tuSsDWBNuAiRJT0m72qfgvVqKy1SyAEv2x3pA4ojix8oxwUdfCrv5+IFD2GoDAnZ4reiyxuStTF1ifDDnYF15wgBZCkBmgA/k2dsFgjfJmzJDsjrcogD262/nS0JYEan0NsXZqK+L5vZWADb0K5wrwPjn5S46SVLulwZgFYLiFSarhrf5YHlOocTBFkSaITp6t53Qd81v9ZZZEYqbWuygw8vJzOIVant7k/tr8j9O1Wwnb6Wk29A6lo7lqnmvZcqLBri1Q9Jp+KOCBQnEAOb+GnHAIwVdOGfgZqPXT/FJT+19uOQnel2cI1OaHbNWiaJJyiskUrDPGSpDt6A7bgB7fXW6nSqKhZnWQHsnfoJJw8jCFSQsSzefubfSLl9gdK9CQ8e1+XpZN6OyfZqIqp/fKa7TmrP/YToEK2EyFcbsZbDTVulO/SbRxNbhtI6RA6tXB9JEPudxy2gdBovnLtdC1vJyEndd34YeL44PQsH4Zm0Q/wQ+FlNg4ce4giyumCVmlqMkeUR39DTd4x3kBFxHKk1fA3bHiGs30G7XhDGijKbmzQGN96u6AZ9Hw4L3Kcgc7mGsEnstrGApYByCz8UXEUBsfsCnQGXggMw4HeP0//kQJeWjICuS/83t3MROtBbJ+hiz59SU5yEWJ+H8gAXzrlp7tLamSu7R6gjABo0aXqPMb+nrSlw6MzBt3ViO4rciTkgnz5yEwRHxcdn0k5E+OBIfe8Oh+2hmffBqwnpXv32qUaePVC3pelCn/MlsePI93Timjsn44iLDMkNx598051276WODnndl+IN5cT/o/LeENtW6xQx/riKfnXRNzFhjM8Un/wFC0PB+6D+y+cK3rDb6T3XvntQJI81I6GXKmf4GjnOxJLHr714WbkAibihiUUxWY/iGWa1U7hRTubG56899E8ZDkC8A2QCzZWGgB6QkiNmsCKOrz+dWoCjC8nzdjSgYUEGMdcwyOq3PV6Zj7uV6fCUPG0a97c+0cZMe4y+c7DRJMVRjxh2+UN9PaZKcuhcRiqIj612oA/CQWV+7YPvZEwJctqNoav/h2zJthvMpPiYe/ugog2w48E11tauu6haQFPEkJAmaEheQBJwQKRfi206kYNfs/pFyZdzkOlCEW0MqnH97ZkAu7yzrw51gypept1iqXtaeAdcBAzPU6buKxkuhe1H46xtJ19UV+tHaqwE8lsYAXOX1sl94Z5mgu5Ko94DR2ie5YXJKUZdqLv60p47amLS0y0Faz2zICS3q3+BTj5ID/vHuAeADttrvdAipjOmsbZ8E6ABpGt2ofSgeY5RsRSDdjRjX11qPAgZzN6PPm31io69Ku9y9MwLfuv4wOrqGVUfDjl/icARnfV1M4c1LZb4gMFQwec/hZtQj2PHUo5UTK9IuqI0mEWfxfAX95G6wUDrKu55Ke/7TBKWVpTpjQpDsy2IJicEcGYx6vCh5j4+xQaBYL4WWz20Q6BIhhWOanFsfBSdi1IlFUjX/jreku6YFkTOXN0GvEtqYXorCglFkDfGPj7VttDS7WPQMbLuwudblYyHVdyVXs28MiGVJeKejG1osYr0lOlyjtcmSXPTGS0iNkI4Mg5i1fb+OIOlEbcJOonmK2JwUvPr+oHzGC5dH+T7c7j3JnL5yAlTrW4An/zBqXjkZes25l45iCG7ibaUrWjxnp5LKpGZ0RHZZDwy8mFUnzxdgiPeUF16o/Lw7YDwnBalTit1xySSb8EbbBYNybbrORlp/W3yrumIozUgvXwzwcEJqDG3SwkxEDxikJwPd7tAlQFGokPpcCY598M338N03XQT2GUiVs/IxuagnSQzdIxED/Niz+4Ag+HUlC6+Po2+4drM5fJjGHzxqauaLpRYPZiaNtGf9FZ7fah9dwbxKX+fDOq5d3X8Pb+Ub3nx7keO8VQ/FtYtrMvwV0H+itbMvVE5EVt/3qzuzrChyc7E+DxFimu3QPeaBGTccwdXTD6ovSm4zUNuGSY3+yKtmiwAiFrtyGywd5IWPmRPbjuQr8yFPgdXSGv6ewnF1DMfxlpMJ6jgEFcijec1cwZGj+zQiawgzVjwJwf81iz9SN0iu0CA24vmmUbmXbASGii06nt/qyxY5lIbjx1NqNTIfAW4Cc+9q3jdMCIPhORXJIFMtD10UxFjGxZItcIYu8+kqF/aupbIDxJ3PFrGsKt6TwwwQ/2CWYr+Un7uhZTFK/xycAP1tL/kEciptUPfalIrjlBbVGgIjJLQ1gs2W2yk8swm0rVA25t/wInMSwcIjV5b/QWcaEbFX4vZalcocfU6Bon47Zqw3uCWpyKW8jBNGOg6J5t36aXcXA/9lgbwME8EaOYjT2AlJu1kbpFoJ+OufrzDO5FpjqyCW/lWNHCMH5rzRrrg6sH1JaSPS1XD/tEH5zHzlnwLGadzM081IGR4kizbg7jQlOqibXie9h6En2BIXsiyq42UlULsUeyIidUrUMSzwAIAvmWZlVA3NEnihJhkUEbWWFGtF4GoYA1LfyzNRibZpAMBRJhRzNIPR2rhu9NgITHRzBT53+cC67MnVKQBErSEyWGFAGqsZqBH5Clhoa8kJ8bPi8qLKC7Yot4kV4sJU67tNhmsE+5Zt3+TtDR5V+yJFzdMIt+xKRpW3H9VPkUcBQ583qhrVVvnfqm+ptVE8MixvW/ceXF/iQyxc+Ug/Y8uuTZ9NniU/bK336yQ92SIHaS6XTlAh5/HclYaQw8sh0yv+OvjwJ8u44okJums4//iMCjYSndS+5tktEkqC5Gd9b7NJn4pkOquNO0kMj8owKVcsIFfPjZ508CeFm6DtZbFefoLGYo6d1iCfyWZ4j2PJYliGvLm2ULmEUrg63zBqlaq9IPoovaeM+oxV3GzgSlAb7TZw5Vox5+TaIOH4hpaOGz6yW0dcxAlsu+1VpVTCOCUp/aeY12qkQ/C34FQohmqLx+Veu7mQXYnJq0ptry3vVwJFFyu0i1Tttqo5GtGHghWyWDaWVDf2QlUkT5anBaAHWDneYDhsOqbaZ7ymF4oU8r7/pXOMbD2jKo6IAQQeXxI9pduxV+hpMalqWHvBvA7yUE2ouh8BoT2bV3mNjxO9l+71rxogOl+SLDwHBFAvKieTmVwJQjQZ4JFo2IPZ4Wi/l0Zo872RHRHY4eMgXy6cwsIHnFkzkyNY2J3/EAsmOhTQm8tdNnS+KF3z9yFmLdQlT9bVQsBp7NoxuSCAyZxSZZBylx+lCD+KRTp0i5/SVb8pfPUTWMGd9Hg59sOTa9jagj4POjh+snWXLJPmJ5aKy1pDP+w41DLgcD5P5sMotEpBd4IQoWcyPYwrv7gdO0CJuTY3orw4i4hX13DgQwWKhL4yX9c/N67AVCjiJR8EGAAxQJEETUO9NgAFLvzg3PkSqCAygqAheyPHlLOM6w70kOIEkXnA/kGUljeJJS8f1hAE5tAHwjJDl6k04nORoZqIJRQYOYHWfCwnkpePjNYtQVbLbKEooQwCk/ZHwxq08kaUoGlU/ikdR/R8BTRl0NZx27f7LUgRTQeMMVOm4tqBPU4ZTk1ydA5ufbF2xm6nqTrzy/2Ax5OFzm1mBKPgfojsS8SbzafAfvEpp7MLcl+0puuYgOK33r1jQagGNZY/L68iQIh0Out0zAzexcC5JluLChiHWjMUZrPxnFux6/bgxStG9c3eP5FI2HRGLorPnfxtigheWhPN/2h+ajwmT2EA0pfGMUSXrhd6JrcgZT6Qcoj8zwPGQEdWukCnaRx2StJK8L/sKTUgpb7Sh0imF5haNX70dO4rFUfU5Oz57+60ofmThcfvyYzAgC2lcJ0jDiWbGm6h5Z4tzxK9/vaZ4hu4EDGFavLW4yazI+/hF5JJaznJykmGKmY5g79LlFhreWEIMVRX/tJsts9B90c1EriFjXCxmFa94styd5O3NxGwPqEDfp1Sm5tLRg6e2LsGhiK7MW7kE6tZ39ghVSJA9fzYWcBxioLOAPMZd4QeD7tPDQu8n7bSCe9d18EVJ7yub3QFc+VZy8cDA19bArYQzj4Z3xkK7yCPlJpl3jaiTY81xmswavgfa+I6xjGbNe2i1UrnAT18jN743LV7YvoYIgy0wsc1493xaI6rA4azzbrq9aCth6NB2+MjV1D53oalnjOwo7Gul2tzfP/CfIbSaTUbPL1ilelfTj9gim3YHXFhChVneOthw/oqJ/tSWRt5ivgv2rwZVZ/Xu/uRMFlb+Rc6a6RwpZRE5yyCMQK3QyVGNWYlaY4pgs1baCmb3fUh6724sNAQXCX+IgC8+B6jFYzTCiGrSKbDErilDl0UIs5FQBiu18CSEGdcvEMoC0KNW8tEoTda6tb7WBEryYheOwt5M8fXneNoftstfv6BTJgdDdf3I5OY8yTcmSnPopHu49P0R3dhDKLl6N0NWgQOQLhn+twNTXICEnnjEIOtHwuKEcKkOxr83t2pQOOWGKr3Bd/4VRNZu/fB/aVJblKi4sRdNgdDT9QEun9ZaTyGKk6LHbH9xScibx6Ylf0OxlXTj75xEwrmV17AKKZFbL/1P60UbuBUP5KZXOzC5IFfj7ybm5vJJNnPos4O5K49drYn7z3wF2Q5cSo2NNoL/5ni/iF0woukb/QiWRDP0UyqW5rNcbZ99dlewjhDwykbNJNgG5p2WmO5mWyOUfO2AfHqO+ugzkG6TOkkrqjmKUPqaMnYwnpHQ6hwNz4fMmst4t9vpYY/wpBBJp0izM94qCcN0EptNJGFNhcLchEJXen/3Y9fyuOagGJOe2McBxw5kgiBJsF4mBb3/6Ig8wN9528PVDYqMBj4smcZB+2UoL/mRDBQmbVUNXXjlyDkUmbqMu6+ORHETvZ9qR2EPw1gf0nV9jSTSrIi9oJn6DCTwNsiV1OeDDBET8bHXnhpxCnOiB4Fk7Q/A7CdNTRvX1qBZdZf+LXTkyxm9HGIJv4fvWQhXMrp3mXa0TEzQCEKzdNYAYOn/oMa9XP3KpnulieNI0+S/4yqkp63UtuMendlZISYBehS0rnLvQxDOlxHcdr73J15QJC+XYS0jxFaXT2Yp/c4GApOPmCeTa+PcsVNzR6CGzwhsdxPjyiKSHL/MLxCAZUg+RgXVbc/nF+qKy+LpYGqTQOxm5xMUUqvgg95d1/GUYdWHDmLTTPmyECC7FQhnwzlXpC2xKwoIk47TzjuEyOeg6bO21QZvcZaJcDivJfKt/mn4dM49LMyKCc/AuF5IaeWzzY9Z4XbcRTAksvdyev9eSxXr3Ew8kfOR1j/zpSFGvxZM5YxLpFEOInmpkWo4CUmCJ8nj9qVw33cWJLmMCs9DuAAL90cd+V+oyOcdDr3+jocE7ntfIIWIosFnUElRI0UJaaWB39CbC1rI0hBEZhFdvFBIBIDEMzuN96SrZB5uXwec10OUf11IOawVOsYcS5zYWcfVsnslYTKJ5qKMnWD3QOfte1TLunN4BG4vwGkw3A44r+ghccrmzsAQQPEjm1wGhg8cdvhhTCsRoneDaP2KhRYi10Jp0A23Bj3WToZqjSFxH76qNf7y67I56yAPAftlWdbKMJOF9MFxyvUGgSnPRbh9SGGIwTK9qC7ubaDARQTry4v+hsHln49TQy8c0ng0Fg6+97PSdAoQAn2EAiKQ0G/u61UihoNLtIJMzs5lpgjJLKFF6BvfToEizBpwBJjmfsiaged8DzwPYUnu7VYg0ubTfNkdp6rt23dXQ4/+hRcvxOn4RDTPugfKvgBkphA0BIcBPCGBk5wbMm5a6O7IuD6/39rm2GpVtAUvnV/MDElDy+nX43DgFL+UpPV5oyFGhgzAq5TZfE52+vFisr1oaHDX4S9Om/GC7wCkQ4L5RFDXHngNWNvjiF5CHh50cSR5bvczdswR2Jv6XEGMoj86USx4iCb48bxGj7cJezcXdwQt3p2ybRMT26kZiE+Cqm86DkRojH/dgx3EBlgMl5P5EugZ8j4fg6Cr+7LvJdvj27VsY9cVgx2gHgiWlzbv80914C8a4/zaMgqKnIf1Wiflu90tIeLfaHo8wK4TeTI2pmoJ7XBnwWxI7j4Q0PTK67JI0zHdrCQwxh5iVIZ6gc2sodyAsRXge1SE+j9skCHzFNeCxp4WBNTVCGaxI7GSJ5fWRqZzQ2lU3sySJ+ieZ2GWZYpF/XRvmLeK5RYx/ypopwGInXqFqTERjjYRnucWxuSqRZTvSLtNAzjuFOpZWJMiT2GdI7+el+le2dD/STXpWeXi+OZW9I7Muakxb//Knz+ANjbJcDOfeFfPvWGJZWMBV5DIJmZYqgLX/F+RyCbqJZWHowfZfHgTloKba5O+yZvy4a7+hBkvcDnGymB5A0PIlWBbdj4iBYu737C4k8j0NawL3qJ/K+9zJqPJFfl158ROJqcKXZepk30plskbSlwKk1Xy34uxtFYyHplQOgGGB0ej7zF+ZW5vluRUIPrZkGwMgbqcEoBHwn2CWORmz4USuT+Cl4zMAbnAwAfg0eFl6gh0kwpJ5sv1EQTJbnIUoxxD+tdRy0v7HFRWEKSa4sIUVhbBF++zq3/YYbiDPPUVlEida40Ez5y6/xFCRYT5LSwkcWf8j4xzgZGBRgkyO8uBfLzgpxoewV2YXTtaiAd1DkS/6mjynbyLZP0LziRUe0EzFeCj8ZlSJHunOcHOcef/eeUY60r6ssofGMggQ1voKncyx9qRbFvVqy57TuOBDrcJfCiC7epUET2ko3aY8ZWnX1otNwPtG4uokLIhSsU+n6c5wNxME1fqXYHds2TYV44MDjFYaXMGeJTuDcub7NARcOgaP3LVz0/WCSNgaB9tH/P40ozvKJvYp6z6gklIcyk9+bh2rdKI5ONjOPF8onMnFAbX07KSlSOyQXypynCfZfa4SjHVDA8s+WKFZ9tdNtbpyiYZZUY/jBA8S2jFi224d38ypERRaLmK8FxuoQtVfrmXBIpF61jnd7WmoJ+2ggPl4OQKv4ySF7GQIoFg1xeS+FJy7jC6Xpm/Io4DXOp3xLhuCFxrqdpdf0nZ4plZopcmQM+uKctahtcE39RU+hRda+G4IAS0jKiOt3htTTUM2FlH3Q/4HhwBce3VMAQ3KzkdYkIkZ9UCnNgNOqY2x0Gm0aZAcd1IHvmOk5ukENFbJ0IGoKSEsOSsnxQ0NbyiL22xnXsqUR6i95ZdYSh60hoEYtBmxA/yd4JPLt8SQLg7R2YDe+yNO6ZzKUwkjAs+HVXkHj0JcywydR9hL/MeVCW6UyTmYb+qA09yn+YGO4MhxoCtWMBvTA3w9WU3ixrEUowsTr2ZQmEkih06fjTZ4/obpphwQKi3jTX+ng2GiDofLS1PRyH57reE/oPaZZI1dvsMIPAXi42MIrDnJrWuTxLcR9Nnby1hh7r57h+jGFiX/eI3i5kgpkqOyKD546ro1r0q6WVcdHIy6vLn307vOLdRg4P+kMnFvXrI6XTSE/BFxu9ygthtd7B0lpHlqJK5T5st3X8JlLiR5n/f9T3QlBJcg9T0ZbZMVYtPflyQZcovXUR8J7R8idhPcvOZV+2HsR3jk+BdTZ91GcidpZ9qrnRHqTicivQj4+KbEL4Rp20F3zq1Vhf4l9n8mrEhCgJILH2c1LebBpAgJpDveQnvuAGgSZzIlhjebB6Oi14iCCm+QTWTr+3J+82QUtndR3ZlEhq5cikULBbboLO7/TBeQGMOquQgHwdfwjgxzG4FtCV1L8JOhA82D/+Tof3nIR8o+Dbeefk1owCDZ+zjZP5lowUW5f8NTXGLX/suYy8eFRDWJlKkSgA+a+/7dkL4C6ORxsJZvGzvjLKpltmc0Qc02fdSwXNaioQo7RQ/g1AzmdZsOnKwQQ9PivucTEbOF54dxrtcS5PVjYsroi+7phvXw61is7w3eYHdDqxN/LT6iG3mTgsQbLiY1m3LsG+lR+xW4U6zuYdUPaYsT9kZXJKRInGXa1dJX2pOiZpq8SzntjpLiSl44RflRdzf/UkaiDeq/RoVohhm5eGSVo3v6BH3xo74pBWTj/E2U//UzHPs8b3DPrsj2g+JQf11C93aVsXHFmY/08GT6IBd0bIV5PzZvWD5G6xrpxzpVoAH5Zs13CAXygq47D9KZhzaOcWI7mNlbZ15rA4czgOIRNE0Ys8GaJMA7b3MrUKWTvObwpXaKbc/LE9DWXYM0BDpwB6HpAGDsRdIFLEbNeHGhWVBaixXI53EWp2SznkI+hAtkOZ8Gp41lqolr1DbB4uDIWfiFuXCyOKDPcxJTZ5N5cud/bSqIHTAWaVv01ozIgD8eaYHfvm5Pf/8p0nmRBshXgS9/FWPDqt1kl+gVIfS9+zOOpbKKXrpVQHdKztPZd7HxQXOPSjvJzWcU+owKjuHN26bwyf1kvA9bAUYx2umHbSWqFUPmkdrVEMlOVzb8nbxpQNFCa03JRl70Dg1EmYu+dwIyfq68HRG9ktKAJRcQzPUDvcmWw0wgJ1TMb+sBT7Wl/z6XMqFJdgAsH61TiBlWDpenFRKd73jhXPctpYiunCmiZ/axTD0YQhTFNsqugBRcOfJz8vvlBJSsbXCh7qzCUR84XUY/EJPzcRpQd3ODSqg4seE4VJ7pNvLo29+aTKJftmphaA8Ngz8UIajzowDCQ8Y/tzyv0MLGfDCaTFMVyE95sZQI6+LWzMF2nFwYUCCNLoU6neg64kSq5M10S6GLYJJXFl9u+Szhainv2HMU+TOkdIRlwJqnpLcolbF2UIowS47jZ48TrZKf/XbtCrZ9ttb4ibtmJaa/ITGWHOtQT8B0p+ArS2v99K7m2ztBtY+fJJPMNFXtgg3rUUMOT0VVCNa6ljaz4xPTRek+sZYzlhacB+BMmrOttP6O0xsg45kuoeLZNGuN1H6eVvfCixOeWKGV1tTKbaHRpqRBmwjE3aeG+w6cfBuQBLD7e5BOXFdWhEros0wxXxOaqomlqJeQrOjNNl7ygtHx9gNUjO0UAwwvnWOqFTBwDy2Dz+WREFIkSiDCB+4TaLQqySZdcWNnim/imjJxDuQ7/+QgeJ2uG05Y/pm82zmNMh/phECW/ULECuvrNINSacdpxXKsjh/TVFekv7Yq1UsolutRqYlIahMi8D6C1y5SCQAp7OcIO71iouMK5jDRkJhHjgzvbs6/ksmH+CcrPIpQ6wx5VarbFdEFRMLWZH1MJuUZs4C/nNEm/Woo3RLpXFPDv71SO1Hyur7JGtjkolgKbFJtHMBbP/hBunbtHUex67wPwtwQCiRi2HjymALIF9XjV+8O/V0p1Gy4aF4h6uMTolA2Sy7yESghtUkOydPNoomxIbnA1Jb8DxeCocemnq85TVkOBoQgNp9QUZQI8PANQa6LkvLeBgXx8jQa3lj94C9a+JUElbneTbZi5PvM8Sm/50BdSuNZhlFp6W5NBxD5s4bucHOipkj7PE/E0nIzjvbYnvNqwK16Iz7Z37gRkH1WKgI3vqqAoZ/Lko2gaHMJxY0ImEqrEFfTJSmbSE9T9x3x8iVnWGrQIsOPvfNhWHi5rqRghKpkeN/yCEzWqI1VHRhm12DjhIDI+lgmeR6gbfUwAQongKHkCgTCgj9r+39yJazpDte02njLNutPPViWk5WlWYYrYGobACqclPo1KhbdLTN8lWM0n84NRKxUPcSP5dyAakH/KAUhUA/tCuFP69OWsh4h7cgvfauYVUW7jr5EYxgXq1TNYI98ZvKifE1oAImTUCFLr4UNcYam2AoBCjHLx6igFz/UteoXROFDHUBpZ9bpwOynP4O0AaZPnqy9IsKPWAkWvhi4e+vvfu7s4iUOuZ44t9atM9gFmY/OzLsDInfznLQSq8LPACfMD0waicQTKa2CwNiCc3gYhmCIxQCKBIUrVlVuZ8+hp7apUHvgcz0JvJ2o47GgMCunXYk2OkIBO3jeffj2VukhD/y2QINZ9LWs7zP0MHUzmsPpe0kPuFxEia0JTV0PtsqGhKMfeKZY74dhAJTgf8R+Vqc0JxZcl5xlvl5r6c/IoyhTgWZp3jpxBpGMWdKymPkc8FJArpOvqYQoyj/zqrfg7QUEoFh/eCRX7OMlo03RnJD3XmfNajlg0QyUowku3wsh3JzsCjZP7ztp9Op/KA7qLoN2Nx+o+CmuQCnljPpUJpZ+VmzWaAtuDHO5gWPQczgSJhUm6+UwicVwB2cWf0sZV/FRYyIQCoUdhRWxOgtjW02dO6aEymKLBijG5EwzS4NwS35YFrcJXRQpvI+obljaHJ+8ivv2juqZRPBt+a3Tp4QEp6z2Tpmiu90TLBUIkVqfO0mlLghj63bTLzWlyjuk6boPaN/lLGVLdKT6nhmgQS4E3d4k2ODAZX7PWYZ1FV0SieaD1ulxcgp/FCJCL7BAas8LOU69/1XeWxaYrW7Zk+2SyBYeB76Ui2d8+OQoNDq3t2uXW9HFqeTdFkqxXvWO8DoMquUZnlncTGY2vRRL+2F874HRbo/XGvP6E4FKf0QW+TZ9U6QKFkJASpcrXOiG6ApVXQCIkY6zZeRhyqzA1lcEC+jmJyOnnz9HYCur8I86hurOV7xFFJCThhxDgO0nXa74yRen9gRwzzCU6y3FGSjk0H/L23YwQs66gxUtxfJOPdYqo2toRaz464gMMIG3WZ4vbM3DvR2Ufvw6ITgRqDXMeaPvOKnJGrMFX2kauvxP5idOCe3WnoP26HRqJtS2nqBbkTtnOV1mC/UOsVqradHsxmudtkQzc1/60xGLpXvYm/cnhXmynPWqpPeeunwIgKZOOji+LrmwbG7zojO/o8dAmza62CZixQgeOxAizB76cng8DT72TiGk7nTxjtmGGOThDKwS1Dtn9N9KjYe0InQ0znJDfYgH6BLqzcg67qUZVJcmMeQy1pfjNOIrkhxzzZzcpfq0a7A4yE9sYGTm1K6HALmKeE4DjlQNDxt75ChQsCGXWSvL46cB7455FQTppYBBts04X7eWhjthhM+LOEZlx/CI/8ZhELrpBQ7vUW2fYREhsQPm/84a3m4blXQ8Bjj88uaj58dltSI0B+3qiw7pACXFVPgKXhxoMi+fl87QLolVaTDuMCRwbnUYORnYJcFB6JZwSHK0iK52YTm0zMia1Q27T6nyhB87gchMT6cdQwqwhyliQ7+HGmkx6rnA2BwAPZK3WaImt1aA0LaKMAbDMeRQ9KVBtaeCFjg9kG+9H+UkW3R4kQBHBs26ugk0oLevPwIzcNj0SneAL0+xUzP3ZtGE8hklqs08J7dUaTMx5GbY4yHXaJ+PYDGtuxcL1EPoD4q24v0glvotJwC5Q4g1/e6Dsr/XcnmrKZiDY+Q7mb80Juq5DWg0sb43MT4O47uiWSwxBOSakHwY1872OC235tHdYoflgMcblMQTkMm6wm7dQYqxDcCEndaKhWqqaLkwwmMX2mpv2YSGHh8vi/OkM/X+MeRR4iij7SLonIG8ir44nHtLKYblKpTktlD0OOrLZvlBzHJ7h0M00WAYYdtBo7PQSgTEmrgenbgFxUcKc2E/ODXk7j6VKXumo3T+4awicrrz11QP8C1IuJNZS28YGMVtzHwMJwFQKtmYjsn1yXT2hSsDtn1gudFXMNrD5k4EVIvt1GU/ocf3yI/Y2j1sxL1cKr38zhgvNz2/oY3TrJWDA2DK/jZTW/i8JCTzlnwhOtMq9ch2oGbwplk+T7ghdz+PeOFcC9YM+nvWlt5VPgGAIrqaWybNyEl/vUEAtdd/9WQ/X1I40gQTGl5RBV+YPUKu+YAmI75IYt8II4hPoOJuFPggnYpao/85zdeGhFIUbLZB9DnF3hmwkYtv6gsiuzkzjlc0F1tVoyPHVdCuDmBoLFxQY78XGCTS/4Eu33rcWhHvz1R8PDfsDuDro9VI7LaOfig9hnDyf+OY6boU51xo4dOI+NuV/4sOR4/jnydSDlFc57OCnSd37YgTVIIZQszm12nFVOPO1cRxeI+m45SjJ8TbISgL5qJckWxZxhbvzqFTBLqDqn49jHjp2GtSClRJ8lHG/oAPIVcKx06bNp4QHMd6Ca2IlGRDpVymbitbw44rwj68YC67GTCbQNUY1VaKe3/4KyVfVwniadJI0WQwL8D1mj8dDcdkvQwUUGKiyjAZtaopa6oQndVdjan+PQQBh1uES7lteQnlztGWwZWHbHxQTunCOdf87MCYcpCMKz3gwLag/MrxOdkbLXJrMuWwYcY8+ITX/VhIeVx+5YMSdz+P+4tF78qDO6bg2Rhn3tPGcOU46l44jbGLUVDuOusilbJxl3wyMMxhbbZGYlQQFIbM8d9O2pNXmqUANtsGr8ZSF0NNEYOv2tcpJCBKYjhfo0Wxmj05NbjpMRT3LnIUuIJlzMI7q86a5yFOUMPZU3SfLBMFDyzdWdRp+pN5e5pPbz3mGVHhynlwYGJ735gAYhrgURa9js1Am9ib99alr1i6sTfb9L0gIEtNvDk99F5fqbZiq/hoSMXoRKq4BZiKfc1D/xCEnJqwWuS//8OFULpwHNRBqatJx9YhhqmQo7K9KPLgxWPSxDZO87LHT3SCwUu2lwGw5jW9ykIfW2M6J5yXQBIJSAuweUcaUNNFfqf4AYv7Zi+Rc0F0ORlLZM8qT4OYFTM6Ct6HuTdDV4WONMl0oYdUZLkRm8FHkCWY7sdbZN/Txf1FN3dggJLbuuhbE/JweE6wJHPqqSlzqKpbNYL2zvyMuF4Ie5XttDrdbKnFaxIzXZ/IEPsVxOPifErzKmVhHW5H/MwPS+qyGNGvWWpEJonWA86BEO9h+efTTt6OsRl9gu5BqJ2UowEr7JlrU1wJE19LJB4mMlLkEqga1bxZW/mjxZwBkh4dwzodMdl7v2POLZEfUM1vuePwv/1IuPRgxWG4PPOr1I0Q//hqQJ8DiaBOdjTgJfGfksQf8dxffWOVhvA1jUMHUAamM9g+WGpGDFfpeqEXPgHSqHsFNADlS4VpzeMMd8m2PILBaYge0t/JPVdhwNcrmOzvIjP14cdkbHhaQ3+HFp7fLTQQvQx70CwIQ6DMs5hfDsmN1YxPNaWLipjs17HacwMLjgxfwRO4t6O6hjNV0Lx4yy+EKUY9YQHGvVWPm7gDa8UusiawVBSkDLSTK3qipJCB2IecousCUTC+99UdvCYH5Mewn6tBmQnOx0MF4oxOyw3liIArXl8WRyCPdh1tPoS+yso7luzeMdvgtJbp9/0oitrc9lZkmlGKrtiFfYKQuoXYJ6phmlhxX3/UX1hxKVf7Wh4GJtQlymc+uWPbcwB64nmF2zBmnbZE0ztzJG8suKBi/VxkQRiNsen1Hn5OY2DniD5t3v0qNdNpeWeApwhVUcgvZVoOq9Y7rZTrsmpFWPYGsc63h82WBGJnv7qSy6L2OaScYLtrC21e1cI5CeWth3kUC4UccQsVtAaBWJ8RtK8eUgdLLPualFe6oqf5f+DbB8kKoDm1i0gX2tUva7dSsR4VrKxc5Tj0uIx+ps8f+mIqvBOP/hmhouEO87dxRQclnf3v3o/cP5ZhMlBt8aDm5BNV5pvkrvQceFCCBxJZjoI+ee/j14XWfQvTQ3vlQwOTdptY9AhOTQFYiz1egPlYxOAgGbTAudkcS9IRZeif40Q5FzPDqI7XRVz4FbbkGGLEdNDNLnosWSmMUE2TyvwjVDWEiCanFlIe1sK1bIOV8uHHZoNfFqTm+Qu3CgSrxCZmWz1h8VAb9d3dxtJNz8bbWhr3AHMeTUUZuNPEK1KuORT89W1LuCuSBQ9IavY1Tfb/W4/OWb6UMoB/20ePeGwESzNLHE0GTIyvwcMLqXDCCO+O7wgxZCGmh8THOPUsxSeI9UoDq0JdVU9G3vCE+m+LaRagHNsELrScVltOsDqwMZjqbslKGKL/ky0PwnquIV5cYC86cA+3RerAjrNFOjNYGg+qsi4/8XMrgIps/NX/bPRB6hiae/r28OZO2rXx+L7PwCZ0q/GpSkNCwjWhMrUTB4cekCJkt+nZhVmXIv7Rp560iMwpNnYNVVcGeuEKRB1g0hQsH9/mmFE1rrbuEZHXKQGuaraqGgeRjibpbQ5C/6fqZF6EeJgyi0qhVyvE+xdBrIvsp4RWtKrl+nIyALV0xMDc9t3B9/fVPE2peXhVxLz8pPj0TZHlw7vIBgUBuU52t+LEobrdawRlNKNAF7aVgN1qkfz0KNeXFqPt9CsriCHXBbYpR8sQ2+qg6pl7NCGV7kcmNn4N6fyKBgKtKwAQNN28Wxm7jHAWtglXv+eqUobItUxDFnSxuDj8JDpHwvxlRCDyjTJXaSmYmiFgP02Q7eBYBtTU2gJPB9Kd+jVdXna/Q4ijTlsXzFqGQymd6WVy8/PQLQTPNmX+JPj6kzgpEZ/r7HB4mxhQlXq0VmGunXRXh97yFEXVA9ZdjBZ/5bUs+kSpU+nrAuxYI68OIz0jwwibDxQjE/KvshbMxR+Ic8Yg8/NTU+FLDTvmHfgDnjXg2N87SbAkx8O7gWGrFPah9my/auhuxrimtaDFBoIK41F6frgRa+IxSSELk0CA2IBcHkdWlSmG8QAmI+wsOF4FfwCPpQB91CvEOHWyCMC+e5LeMXPttTfVmtjtfZ1D3gRJtKkHHaNBjr5gI0/Vha800xBz28gHTKVOoFUUtixsVUtAb1lqZq44LI2Y/7/04czPQopjSbITRtagxj8ipB1E9MPO/nvFuZByD99h3u7xTgWcTIEizZKZHgH0uwqC/2hGXqKxdZrQomP29lhvpPhVkcYvkYBYWljILRG2/JVX6ojzgUgMaKjlQWpcN/xJxu1uO+idqacQY1bKnVyMZOK8JxPvPcBhk5LrDauVsTSRLpwXIdlHPH/x69kxVuRVbRw9no9M63tutXbSDZ7YhlGsRPvQEyhGovCVxUUBQvpo1SGPIEXEkp7oSl1dksnHZNRqhTHeqfoxDdXZYDE5OT7aFfEH3jCiG9RICns3i2p4HycQd8Igdc2s4GJFKF+UPPlDi1dEjD5K/WoOvcBUPOW/toUJCvNtXXcz0LOqTJqOZh8mUHjEDUqrd5GaW5mJGHlnpagwhy3FvEhJtfgKahjpQmeqaydigLaoP2Tpsfi2j9hGpEp+FOQCrSX6i9mUij58JOe8XP/ZuH9p7qQRxB3Q8rA8cJwzHUnv1EQIVVnOBPIyXUx1iE/0y2R9gRptIqpzpTgGV1zqZh8OQ+K24VXxPEsCAcb73NRZvxBlWRlJLLIgfcBcIyCRW55jpOksiY3PoyDZnur0HV5CJ7SdjA/ZsaGjRSwFwHt+NHj8Q5ke7haQNKGcTS7tBi2739HKY5t+ZXMg48XYnuhR8acgQec3XO3v4OzI2wk8X/pF6WY+hpGKzgp/LNAmNiVAl6+yixUgwwKVfSn/hxkQg9KxX/MrZULaYize6PrDcveJjv1jQthP2mjXZyO5Wm5++3BkHuZXknIiQaV7Jy2gtBZy6PAgVUzXvLe7mF04hCzoyehqcxoXl0Ogm62mvFttiM0ypoEd8eNjEIkc7Zq02wB8ZoBWfgkykX/C24yl8rvhe0FHWibOMz/SBsxSI8xh6HUrrB8d2i1zK0KUCNYvLJQJqM+b/fRZstdxiutNUEZpp6SmLpN/eSGuzlHcXQOj/wO/IXU0TkwV/JBjx/kgCTryH4IjZCfsnfjUzeT53QP1XZNDxIgAPLonjtRkeoH6I1HMgNVGs9KQiyY/xAMLBzV6e3xHOqbNRsEvw+/sC/CiZLqb9QgFzJSYkneMgyfDjIFN54zG5eSxCN8U71RI0FK/iIMfW8DbRBpkqTxP0NB3GS6HyyFKpWxgD/KW96CFcgp8fmCy6QqPJK/cFMtI3qtq6xtFNu06W2KboQwqfgZubblLOoWQ/89VMG1QMRuu4NVEr3CwNM37AMieyUL1VVpzN9RmN6DOi0WulngzO692iRypaT6FC7ZpTLU1TEhu0L/02xeU0vsWWxFEwbCA07ZMPTsC1gvm5CXE7bY2gwd+iE2t+xIV9Jxx09y6sO7PSqX97A5t5MeOYepfr2uRNTAhz5dOEw9b2bDoSgr2rs/3GZBufM1q2uvJmScAO7Civ9AbUBP2ArKKMVSOn13nOjurWnLmlIaGlIpUlQx4/493e7iz0AcOtfJDvs/+SL/RonOtyab4isdM1NXCrHGZ5Ayx392Q/aNgD6tJY3Wwgp5/jvRcPBsgwmIfgr3xzNE4n0IxLiQVozur4Px+vrQizSv1uwyK570NfU4jF1vqfVTwmrIyb+09SpGPCVs1WN1VoHUpgAD2kmOQTkFAZEMdYwqpPmzktmIAAmAPfIuSEs8OcLShrVXochm3JH1DoYL7P8fSfYlWNBXJwFTwlpByRpUJ+9tq7sDCpRILZyRXT96aPkqdE5omEIk9JNuM6L65+DVsrUc/LzG1yRqeRCLkTxlSjgF0W+nEQrPM4CMCUgqJySei8pmvKV9S6Zob2bf8RoLxQKpPnc+b8r8V65gMmRFuOn5CNiX+JHAiYzpt12xXYvUMCbzDZxPV/YCuBoh+aaUg6JSi/mpv7ekjkYIPZxCZb7hWQ34FtTq7/Klj/I2n1zql6z+j0MaXeRBefe7VDpSKbikcbzQFSFwcKWjBhfPgsms5GPxQXg7vX2GNXMMBSDF/Fdb4xc6SkuAqYc0NrPwmw3cCOnj0qeE5bWybzA3NX6WJCI9wiFSbfdhjASdv1FCaP9WAV1B36G6e85iY8O7mnZOHGWBeWrl/53XqUMS/huwtFMy6OyFLZRmwrNGatfUczVVkti5dGMVe1zj7/SiJUhHXg1FVrVa7Y3+Lttnt6CEbzwYNODvdgP/2EsPU9/TPJyfG8icOxpn3+KNfDspbXogRVFNKieFY6bT5vUg765N0rOiFIAyUgOPI+Tnk9glSlaaqzDdwX9iXYNLeILa4i3jqVJrUM3v0oJlCV/eTYVmgHExcbsRlhAHQb7SLI7k9B7K+3nOZ9VPlAEkwLP7D6fb8yVsEO6Z8YQJb03HstIQKR7/SA7HQKEye+a8w3KnVZGtYLKZlA6qzbxkLcdEtstfgSS9rYXEKYxMYhOjwvUaKdmjwG2ZPnei9cLyVBLE8Sx08G6WKE1qmRBckSiJo0FRp2/u/RPVMJ7F5PIYC/ca590gsC5wp/KQqBIH5hoKkHuFc5efKZ6A81hAX/gBiUqwjXPjEcjWsdARmTFV2up5zUAdcuWpy7Q1FBroC6fevtAoTuMRBKnWwklaayBmYYl66q7SjCfvmUEy2ZGJYZACM5/s7+ykXOw1xFs5qTyac97hTy++W+27H+3JS+7nqqdJE8qdiXI33kwv27smRgDTu8HS1Jy4GOX23sUknBO4/tGrcI3wjHHSSrwUrJO1vYe1ouET2yH7d6lFFk+SwazpAgzQAXRzzS/WQkHnHfq1/NafY6aY4WfRiymdhB8pUplUeZ45g6N2s2B1lZPj/tTf4AUSpVRgWmP4ivS0Lsjh34e+qq1p1m/lluYVuG34npAvx5S0cy8RnK4sctGI2v3tOHEXg3Y82qIIWyoWc6EXDxzXqlmhbbRrjbly6qGApHiJQYxwsAouIv93pf1RCp6cGhgjO4N37ddI8ZyqwCSYj6hxkN9TksMZba/+MK/Kzp/nK0yC/fEADzdavMTLXg+2+fFwk45lcWXPqF3wz+SaOEFlZDfPaXNFJmwQzROsJRxjSQaM4H+dS5X1w7C8EzJCrJM3Nrjkmf0ZwLVpo0LFbOefKsdGghlUrQUMOHeTpuqzpa/6N0oDC5EHb6NZ4xYfNYSIqAaIoZFprVuJ1xMoTNptlrSE2LAdxGBsJYMxjKI+Q8/4QrfFKp5HEA6IuUZ7HSDtkTmyHh2qLr483sQnoB6uqaIfarOIyBnk0FKdwS04g4Bh6Ez8WGDAGsdlR5oIBJIrGMfbzUanwu3MX5AjMe3xF7Qp7mU4mO6n1AoUENieti25ZXqmYAswoUDctpt5GAqELTYkdWPm9qUXqEpR58wG9yzw1LJZ8P/4jt6mpcqlSwickjj6GpEJZ5qBflLxF8/T8a3k16XIsRNL0mz7Ssj/jZ9gE+UWOPC5095lTQLGyEKBwmPawvsPx2pL0gaSfXEixkDNBDow+rRaGOrXaTldMTniXDNvaBQfL9L96lO/qeHdG24dgwZV8/wfytHT3x8jNjkHuKfQ6gmPYWOYjsUCGL8Z4bBXsgOfdq9d4mkDreyGb5xVlfd9GMklDVACFNObuZuHQ2SCNy93tpO6pHWoW09yyEFAgpIDdUVwRn8gsXsUtDTI9aZzatE7Zj+1OkB9LGvM9ZlPpj9lq3xsT3lE4LaT8CZampqfkTlsJLAE7CYIgS3Wkilhrtrclgm4nLuWx3s9mEbPxsgKdDhwYVmqh4/VyWAR/7IgPT4PbeIqEbKp4Uiuk1h0GDygbaDpiwQS78N/f1K87+qYWBopYilYT24078mtIcRb4xdMjbGe/fwmCDzzciMFNhhftFbw85GSAJ5w6l2RZ/Po5BgXIrT3AsYwDXzpkscEclUVvBHcAkpFqn8lDAnJzatB9w3tSr0ZhPlNzEtRJqFK1LoaEoCd16G8V4Bf41102pt6bNtXMvDFJyhuFHbVslEwNqC8o0Gb8AkXjkpCmSL9o0e7trzT/D/Nx9Xv8UBbTyBSMUGvAL7xF5oFIxNMh2ziXF30qGW7Q2z+g22qYFOERDIWT2Y8TuPA3xmEXzfvzQJs4qMXRb81u/YFhU+o825dWFMU0jacOOGAGMZyAyVrW+ASQgSigeVa+X0Wc6g1RIkHA6w9AAjUujndNcLGm109obNr4rARgV+6n/dZSzYhflru1krv4aD5lUpDxc9s94NWaUYxwpP0+rn/WEZwpRlWHUtOC9RZ340puBzfNyC9KBshfok53FJK2nyD99+OEGrIQ9PCxhGrbY61jHwznCmEEV8Ne51tUxBX5KlkTcJ5mD1bszMkEWwKBaITOVrtHhvBYPY6S2C6QVbEVUPzlIor18CDB0E/VpvxJkzToCNIgZ2E8XiRKLS2hteJDewQKqgIfjYfIol72ALc2fktgFSzMiON0mikfvy6hVNRHRiu6SLl7jUOv3NT2frD42zzL6iHviIa/NBfftJ8cUJBkp+k33HY0xlUk4gGa4rDyNlVzirth9SzkMJjeQ2XzaWtgTiLAv/0Hcxv44JxnPfXdHn516WGu81zsF/6eC3YoT7VmokkfcrYFQ438JFu4Lh/UTAydukLlOXNPVujlBgiMdqtlY8ZsPjeBFa4OUKeP7f/r9OMuWM8h5beiXAqkfdsD8wSgomMtBcTqvTX10pveEUlzt30STidzjzcEpPUyehKwHT7JB/fmXngEe6QdifrINmVCN6ewDHi0YpUtj/Fna9an3xwgm/t7gTYglS3Mfo9KATnSNOK+0bTpaAegoT66od3Fj7XwEmbzYIvzxDxmuV0kMt6BWAT4ql4lqI4ki4mvIiopCp5s4ERKalvi4rn9gQOhJfQrIDuKMuiJvv0/BQuwJXRnj1gQxkei7tVeoQTeqQ0NPDg92JTEOC5neJqDfHoMG3Ri9XtqqRhsozFTYL/Hfmq1diJ+AyDE/8RU7/YxULLGq6L944MZ6f+DBEumgzIv4//IXUMB17rc+bzM4RKQRuwxLHlANljS+b9s/3dn3pWHgEAQfNJZbYTqSVTk0rDSNSPG6LmpY+pomr8k07B4Qx5OqWhmpOlpcqYcdOV18oLw9s/0LgH3aZQ98neaSPyxkQT0cVdgyuUuOcNnghMCevLtrU3r4s8wa3lQbwc2o09cRMop9Y0d0ZBIVRXtY0oKtw6xzpklJt4Uk93zfLHDqrxFWNNLDK6k+6b4fHbg4WZvHYnd44fNkK4bCqKuBE6StDSPwbJ0FDUpyXjHXN6NvAayD57PczEtD9wDVxKXEcjNiHjRJE9ZcQnMphSaoYFoDvfYbG9if++u6yuI0fKInAsI87YIvowFGTdpY4G6cLexpjTER1oDCWexxXtYTI9pCLemPefAIvL7oaAlh/QEM8nRIckTWK0l3PSiDfMxqEwEmi60iX9voVNxuHluPVPpVsYT2o0KiGot2nf3hNWNuwcNzFrs1tpxyMP8oaqHdav1NsqlBz6RzY1Ta1yRenzK7Z24bTQuCP08/0jQswioLCFjsk/z16usTF6dc8N9JGWfmSwAt5VbPCq3e6MPQ+1/esiNNS+Nkpka3reXY1SsNfmPRfBZ6wq/pcbAZ14M7VjbfNppg+FiEzkhORS+6lWt782QVz4BVuzTzkdN4zXox9Ks1VFpi7O2JIq4EKyEeR/U/mW/+JGnQCDjVPccShCVVq0Eg1Se949Gz6gllC6020HW3N9bthL6ODyRZH/yuZAyV0Lq3zP9CXM8YoROOIfxWER5RfZ0YuO6owRt6gHFy6Cvj19mE8djfBp11m4hiJSOoEDW0FfD0BaKE4xc866hglOgwu+qc4vlJdtsFq0JPqyVSZcW2dA3NDcczX8vPoKrRtxSnaOe1gB15nK6SkS7Vr0JVi8BxhLTYfP3m8/M/BTAYT6JnVOJyKhw9YJNEOMxqmtPOwdvdWSfC+u87YxHZ3LWjbQ4Z9i9ET2oS3PGRY2qm+TiqNqPgpXYabFFth2hXXEVigCaEmRZ6DLNbelxCsB8C0mA6a1xb+LWePiag5GJ2DHUHokYY9uaGkzfixzSufigdY0UGPiiOHed0V3X7rPaySwvXpQU3V+A5e4VJudFjLAYlR0AVSMUAvC4fvnFQcqF1x0j+ode+Bj7FaY/THQO35Keld13kLP0rb36IjOKpbekBYqGtGV0cqITXt197peT6geuQ6baf0u6m92ZNGeVjfOfhaBkjSVVn1A4n3+syJbPnw58noD2sjNIfX/UxWR5swDqnXqj98xhCJFzJE9YN4lHQPrcyNxaeYkR2I1HVttnQJzRoRPDks1dOp8f2vInkEhsMF2FPmr1cxtIqZxbVRmKUsWI5/9Z/kHQhWEm0ASbMV0W3svlT0KkPQ5AAtZrZJnDtW/X0XPaTzioZ8pdEV3+IuaMva2tHGwRMnQoxjI8mSILOE0jCsyjIGCcJOT+mvWQsLRhyWVu4+drSAkdP/Wkibqj3qi19OaBYsm68dwW9ja2qU7QXlQA8MH+MEcgB+caP8s2TFJ+R74cN+EjUB0kEj6OCeTy8D1PkTfBbcB2NXvN2BX/FId/sRSXHiPMF/hqzlg/fH3w7fMwXeHsNLhfh7gkzxBzv9qrbKlpwJxE9F5CVJPzY6pPP38C0I+RudJnwPPnXmszB3uxxRKJM11KZxE+OjYJc853WIX9UdwSVHxCwr2SaLSJHhXuL7AVxqN6seHn3z3JO5v7FwyoggLWqN+6KINFCcMR14GAxvSxT9WP2IJQjCLjwJcPrH2su+sGvT+6BlyV72nBryM6x15V6sXL+zGUYbL82opkqwMSnzjCjQaghbWxjtgh2ieSobkV/XB1etQxDfMgg3fvZYbFinY9oFsJzpOhSY3TvMTM9wgeTD8D7O6ZHghcP+kqxJq2u5G515VNPeYVjvjV5eSoDquDU7c5H5TQJEzHiyVGADIMwFSSymbU8RRNqVsm0vlAWzex3PuhrNPNgMOegAR2aYZaB+gHggY4vANB3pGqfPBT+lfqeYNBQCJRzMQHBE3rGdDNdLnlpkyVtK0uwSUs4fG+YY96+5I9de2gaSp6dNg4K0hWbQm68rwNAHoDBaJM6BK2iCYoT/6NG7W/Pzrrss+ojO6sDd20tvYvGFcP+c3og8gafmRTaGgY5iZ46Ha7ImoL6R8RJQyuSy3br2dXbMMgJyGvNOhdniNfXEs87mxhxSv6KtNwB+rTNCC1Zf5zWLfpy5jw49fRXbjM1qmvpRHoVEh3/Xtylhn7JTYSY3efxLf+uPXigmYODbOrqh4ut2WIphSBNg+Am86AZEcc0kGg/wxiYsmDofsNPSzn4wwiL03Bhx7cxDKdH1tVTKufV+QTl7liXybxEiafoBgOeLYeJuh4dXq+Qx+CYYJ8F3AnXlBI01hILu/u9u81ybLW7Akr9nkZXqYcvXcfNVoJ6tTw3h98bBeeRw+cO5jMum7nD4QdsVa+tAjxkaHIcNEznOXNlVNggAlGhBY66VS8S1n2xK30yz3KQhagJqtgUwt4Hw+lZix+9BjwIoVHMOhTQdovkWdVrsI2QkBhfphnxBB1sb8hCRz6249N0OYE4UhYA7SYY8pBlFewv9dqln1L1IXH0FJUFO3XtdxUTCkMryrZqzA4jVwv3jPzii0TtLELrJWe4Lx2FgVAsyGbCUiBZqYlFFMXNwDrZ3Nnq2p+Nyr1/44ZNpDKUUMg2wosXPZdriLqZNhYDsWHO3FThziCK92uQNO1wWLzxex29zC4OF2gV1Pnci8NgByqXeKWTpvmeXK1ykMdybkouujZpWyEmFuI+KAsS3hSqoxvc8Ej9PHdIMT5OfAF29A2Wr9mNi+SzrwVxvBCslEpkHptBK/y9pBODfsSP4c91Bivs9Lz+j+v0WzMMBxOeiS2iykrSlvPSF04w8r+I9AmTEJ9yI20QrSPapt9LhsgKJsACiq+JCtgG0izsbZdpNUFvJtZN0KVHPMNKA8OpBwQytYvhVKfuKzlGf0FNfeaYxPMERKJq+bNjuhkuWAoXjGUpFXB2aZ28jPzKQnjFAS/4oSYGz2DxM3Yp/IfBpAG4ITKDh15TZGUxShD0QxelapRvOjtbbPDQXmIZPLqixn7S+dbiUYluqplUjafsEimnAWsPGNNSxHI1zoNQJ/NYItKIiJwIsRvEY29aianJ9g17DdywbfrL9boVrzHCkJ5ZHgXOPA9VH3I86nAzKe3NhBJWXUODpGiIUxjPWzgjRm6VpL46Tm9uYMkgIrBGv0dXADdaJr5/VoZIhpdgcUvX2e5MC5sBg1SCyXQG6TqP8HhpcnpR9li6GEfiz5+NdlH7O7KK4fo5SEVc++kCMmZv+L3opBhEkq5q0AxOj3WAiI1nP9tT9zmvIexObe74Qmjflw9q96pFQ6H/sz6NTsXWOLAueB2FA311kRRWDKwwlt5WSYk5v78d6VlITJCnh6Tu56hqxrI4+h/1YNjRAHj7N80GjhBoZd4prNLEtOTME2lhaGbs42IaKLIcxz7p5ZY8YppByDiE3hVpnYNwg0NF1Dfmd6k+sGpbFzwumJ5ZRRvL2WQ5uHsbgLmCYiKrjvIgyCYwONtTJI4aAqPhPhyZ+niWJMSVCBEv/NqeFDrMmkq3CqHUppEvWSbhPTZ2Ee2ofm2S19dHaqK3o45Da4GFgStrivkzgdWLxL4pW4p58yare3Bz9bgp2nzsmBV7Xp36RU0tABd3h1FU087wpWOUz6DiEfxxuwAWueZizhsP94ASh/G8KZ9gTSPh7U2DaRSa57DlmITkCXJbGrcBVCISaVtnMvUkL8Mee0WtNxbN5m6BNiOAbFGXZ51pzX4PeavsF+weGFeCXrMd27XBOWWjMt8HYg87Kfk2ZGBp1GItCPmYDXGQ8qepJlKhvofqBKyYkMYNC9gHl9MjlEWIrwfOg6X/DK30fbhYKUiRxmxc+9D3dlke3+WyDCNp7NTVpN7JZmUGyPzybwjjf4Zga0Gky2SZwXoyToAMeqwisKpKX/d5WSwfHSUs+zn6d417qfDN6RIf7kneKpkFOrXVrI4YdA1u6C+jOP/VtG4AGUQVNbAcwBkgs3wWTzKeUK26Wwsha8I6uu5smoy/lVGLQx0UrREN61EySaGXjNAmHW9F2jxUvdTLOc7TFdd91HjcDwY88Mlz8JOVmfmFaC6fmy1hq1ZSACB+ilwI2mBX5RQ4AFJjlOd/xcVlt7Le6qWRNm1UgV3/RvIXNTdrbFyY2VBU/g/9b/t+gkUhYsnxlMGP80TX6KrTGocYRDiLH2e6w1MkroIJuxvZP0SkdKtuHOH4IMPDUMCYBZ4f75HwE9/4BxFt8LwdpJydsiawOjAkZcPb0Ybi/S5jlScvWgQNy6Svqn3wlEiKOHUzkgDikNRzQO0QE4Oh9CoYO08MnQV4L2MJoXyRfR7qKDIOUXa+HaZtVXv8mYc4x6K2d1L1+2ufAL8u6W+LzDEXrlayK9wVifOroa9+y9DrDAMWsEYbJiN+rAAbWOZ81bpmjcJJfhmLGBP0pB+kn7RStrf7KhOwVVHn7QytfaRaLyf9yZA9M5w1y3Rl5kTP9SuGjQIec5C04cJjF34LeZ7NkUsqgRGpz7pS6HGkQRZuApXTcbgNl2yF9PCAWT9fMntYZoaRwbCneVeI8Bki5t1+640ICocpOQsU86+882ry75PTV50wdj/BJmmIWb17lg5s71b8ga0nB6dxfrk4uALpi7NhDzGbjRn9BU6K6R3Zkg/LMn0wwuaARsEwSOqKRVnTBexg1IVb2zv+FoPkRBvYLs7+NQpAgsCoDlHFOuymHELA4SOsP1qQfHBi7lLLpBRkYfnoIpogg6BDpWOZKbzBMNxYs5Kt1T6VLRnjtbUcQR1MwDs8U0q4RpfnQJfRzTD23JkWKx066n18uvWTfhOv8xcVcRQAwKZHduXcV8QCy6UeOeSD+w9I198lnHPJ+O3nlGbeeNs1QkUuqOocSX8nKDT9osAnmv4yf3GXaTNQOJS0IoVUg4Y8MH0fG5QwHNkDJG5W/F/TniWs5DXjmy4CYZuw2F6OuR8ux/REyU7L2MvyTN4OYTwSb+Xx6J2yQ1pL9amX1r8yrKbyXE7J+Pw4Xy52SdD4RGSzvHCVJ3FpKSNt+2VWQ8W9LyyKepdCo35B/GASKMmxRUqpDaqrE6kVCjt4AZq+WXN1PfaCM5vBAx0enqTzsm6PcLaSLR8zw445JnMlIdOpNAduKr1fpafmqgEiC6TrNTGmIWXy189WIzTZzWY6fm3nNrbssuu6GLuLzHXw1wKmoWtWvvahPSAQrWWSP8EHuX+Ct/kKMe2o7CshGDdBmt4dPrl+hEewWsHVJrHtN/Wuvq0lmdh2opJDSBpV1DIbOYUTQ8MQBurz76du3aOhMbSrhA2V3+nUdkLJJSAUcHExN6lcGfY4LiwCUhBn1c3ZFWQXTBJ2pE7Hs0bSqne84gor1CF2yG2NeBrcnlZEmuFmNKeHabbLR/exL5AuHMaEX5ZuVk9qltTblPN5ctHQvQ75kJriJx7UQf584pQXspJ6dXCiFNuB44ackMlom9uFqmtr2p4Kbvb3vQGzrTk7yUY0rACFM0e9JCctbafhctUtZwg1zhVjcI4juBMv1R7qe05V31ytsT9lo1D4R0M1IfsjN7EgC8toKOfFI+jlTSZJoLNqAKl1uSgQ6kxlP7FA+a/Sqz/sht8qfjTS3zigaOwLsLoln4sPlNCqRMLqBmZtbVR0asCJffjVUo3+k3ZHfgkbsynz6/WaCEl+PnpDSzdxQ4L26IS9q1Jb7CpnRXoqb/UdYIzyBwNSSD5LJjBpqwgGJ8xCgQWArwkR0y1QWhsmoiqPmre6I2w6YjdW9+MIC1RICkuQNS+8uf5g/M46gu0y0X0Cz6PegW+rzSXyO2KYuRjFL+sb2+dy4wbfOs0il+wt/gLL5ChYWlNDM0YzEO4gDJ0U5Dm+C8WXFARByrU6D3xpoC0G5Jyq6OXe1EoWD40oNi5r2+9AO9aE5bGfFwoPCbgscC/m/PvjiDoVkzBq/YlW0EyJUpgboa3YzTqW5CM08mwp8PBpMxXBx+0aWO4rNylwc0FfRwytH2wtqP6sJaLJ2UmAJ4sU2emM7N01QNZDgdIApH+dZHiwaCcEWtH7d7xZviaewYtfI5aK4O+UhjYVlroORC9AeJaBdlpzNf+RRwZ8B019UxPSS0jZ0oTnGGzwF8xgJA+ncc0B/4hOUoTJK4oClY9frkoN4Gdktk+NjDCQkzSLCn4PvUOy+HASmMuc/1FCNPGWEnmfPBYlRWu30oWAXy++X4YuQfY6DWNb1vnLc/52+tu7o2zOXvYno8jPTxEYif7pazTJLT+SMsv8nSqnelYES3ib+gD+HumRra5YlgIrrPfsuTarh65QBFGQuLY0eV0IDwpDKaaWIhzV1AWmCcnakZwj+YpqJ+At1Wz/QeqN0Pj3oWe9cJ6ufq2qsqE9XRJFJetuz50md/JvEN0sYw1WC1ZqfaLFbmhN/uxJa9DoJMBQUSeFIRgPCdr+EESoi56clgtWvlQFXqClkqFA30q0f/Nrwy1grZZF+5kea5x4d39WXqWpFPpEmXSsBQq75u7kXOIVQVYsL95AzowpBD/mvSsFNs0XY73kjw2wL9XN++yQiaqytxx5mO9cWc9RJLIPJ2Nx1ur8I0BzMp18+dPkIquq9zKtQxSulTaGiQis+YtKTeq0LCaN7ufEekFFnJ76TS0e/6FYfikgv4HQRdwngRf0w4iXtTD8bmQ4dD80Q+ENN3INBk9LcnMSIf4qzcwcyCpG23+A9yQNVCe89OtLr0LWdvM77wn5xhh0P+XsJBv2ZFVFnymn+4B4rvzZuM5XDL4N0gbm1PV9XS3K8eOY9FCYhFO82+S4O9s7gbDxzf+xvIVjB353c07eeux5Y1p0XfVlWIyaAAVSu8YHmocl8F/EH8fiZ95/Jz2aJqPG1yXHlHwkSeSrRUOce33ZWI/0PNMad1tharkEZdQQd57Yoz1t/PJsw+Be35z4P/msaylVyIij1Wv7zaYU6uLt/kisnPuOEwFxqn4HRt6ZzwYqY841qywkBKqoITNRM+E5d4pWAOq6O7tjc3Bg9hJ38/8MQzIH2QsMnOlDRw4sc6Mqyrtp48ZTmLEFMiyZGltLJFy/Bbjyx0i+cNSEDxKklN7cGCzIfr6mijZD8bJ5Mo6wfm8i0tC9FAynxtv5ohoQIKt0DgLtyOaL9goLyvdLbHUyb4EwrBEs0lv/W5IH1HLE5icDtOIm2KrA7w0j0MTc7k2UEwNK4dpAa26oHcyqiVPmSUQt9yK3WAZh5FfWHs7ooeAesKKXtF93NRuxEEidRGlcHIkjfyP2yO9uESJKyJUCRfUEOclVsATmZPLhTQeupyvAeZavEY/Ng/0FFv3JVjZFIkeixPbsbzaB+gtF4J0/8HSKt5kRS5KxS66El1XAGmnQAuxkAyxYfHS+5oy8lXV24en7ODOTMUIp/izHkY5K4RCHp5Q5I+ft+JByyhxMpJ2YWRoIWr6hx5cN3UBciSHykowvyonpSVARPtk/ZwH43z3hx+oBhYg4KkmPiJJh+Uhr08Fsc7fMW0/YuAk7Z8nWCKShKu8j5xuqljJBN9kwCYhUttBdRLKhiTkStb9HaCXkZwBgegnkyEehfKud8axLoPoCHv55MUJdzIktlL1aO4hjVOOFE/7rKVvwijOd/TWBRrBkc7pMNDBttWCUFlhC6NUENq4eiZcOl7qzTnXCpFg4VxFKx6bnQCphPliwLjk6TXTns1Yk3dFfN4P5QdjZn2CAgUhahDFMEY7+9/tM5F9BwOhkDtqftBCMFsKYBNLzXnngng9sZy0g5e7hdRCdZ8CiTH/K85iGkYMqmKuFAqHA7wV4hsqFRIYmFHP/ML70R3nCEqLCj7YoAodRBE/qbcfiqv7CQv+kNcMCErD8ch656xvWtLwBGrD5jVkCWqgorTZ7c0wZqLDAeYk3D/fcfAkcCE4ia4MttGvtFj407Rx6rijsbS33hHc2pSUdAzqN4mM0b3Io5kdVmYn7TY1moznPvsW+tGg1y+FLi/uWRPtuLd+wttvN9HIrmlv8rR3VOsFuSKy8QxMejHCcDeZ3wUYMsTmkji36aKRe4f6/PoNYELE43z75aArPebAWQOOvXQPesq0hGXIebmHT9mOxiIo2xzD1hGwcY0+jN7G6Y+IRXy+o4nynARxFhETUPBro1pGcT04thJJzc9DmLMEO+A1uqQ6v8RpyNjYpObIXTVHoWnw94kYqtzJ4UnVoctxjSOPPlTZjppw7LpIQTmDKpvnYXwgqtnEhCyAqDAomkCq6W7rEA5Qm6mcgssTLxW32sV1+R7/o7R9RRI6dEYrtUrBSk+MlRQhIhVh8FUglyfoUWcNaQW2bp/fCGGu/YXVp5OscgUg6V1qPvenvSbpMr9JM9A3cOlVFrUAPm2U4v55sz2Fp998jBgazqkxKmL/ish6VldqamihMtj3uAiyD4OwAI9MfHmSMvBySdk152VZw0vzx1hv1hG1l9y8mgxl6tze9wEuQ2E+BrBVS7H356gmC1tg5h49IHynmw3Vh2VHm84cYlfFM3tTDU7UJ6Zp59DEb14/VsLoWCUC4YNKqpc699ExfXOrQym/C/QHl9AjfZIiGkEd3vqVhMaiA9e/h0Yuga8cM4DVdqVprl1LjnkVg5mWHPHqyGGCTErJB51ed+e4GxnlFLz6ItnfDzI2EZVLBASKirb6UFw8nsrRTDz9y0WjWsyxjTasvVAlNH2gDSZel2Qw2f1JzYrjoC1wDe6Si5WQDhNSpx4WMMUBCDuCi8jZJVJ1gkOS7Ujw4A4gYS+9ACE7rC8xVhUteDI0aqAlAMpELoS0k/TKN16CycF2uGNX9uknyoyRoWhNnv6s19d/h46LwlLDlNo7yVILItaDt9n9qeuQENnLeBRROxkOcX6Iy2ZRxZRv3WM+JLgUMgJSeNP5TQeZa3p/Tc/tNJmtZOJYOwVT9nKXculx9uBv7zPVv9AG9kwwVeExV93aq6t4Ps0RA0CcUQQ1p1uCtEdZCTwM6kA+g32qDvcVEnpxNHX8BHaboQ1/0N7I5J7YU5QWs1SfWtptK0lPpT0UAieIRhEqv/WAWk+Ox+O9kXppU5XPQH2yGEFnEVwrKvOV1OBjwqBTruT+85WjQHyHzvfMzlZdZVn4AB1dYDkhYixlo+J+oqNbONZo/ewE5gN3mD1kQ0IfvEfXJswlHwe3uvxQqwlvrt0Mm2VF5tQIrhKbN9flUoi4lrxyzwviZJnQ0uDAkGOaauoUnuY0iM8S0mdS+ATrhG23cn7GBrOUjQ65jlEAi821JZGWCWH11/bVhV0raUsPA+a/LwxcwN+YfMfycJqsFn3ThQRRfILyZiSA1owFDmdSm2j82+Gfnp/XavmrpMea94+kUNtkzeZn2QtYhgFVpp6I8ZqgZvpe1AbC1OnDGt5mITPjkNAUj8kQUsKf5NKjwGlVBi91Y2iCF5rOV8kNDeNx/zLguzO1GV5XlZiEk5XAY+zo24GBAA0SrTWy6NTGp/GHd3fTsaubuFwITrWuAzh6iOH36jXABLyclIVx5CKjM80nFx83bYm4tCvXnnbLnf8UMhKyO5KrZLLuC0pPntlymlt97Q/6VyIDqb7Hk6+3tdrSOA+JcuDdWxEgqyFHr561VwOAv1CLM3GUDw15HavN8dNYVuqO4F0YRcUrTAov1Kor29vLeH2zgtxvOu4ngE3zkdbb17+hGcvRb+6jfltfrcrEFzPAkMKe0wk2/8p/YiB0xpFwt+TY5Xrkz5M6S6JWYr6RhoUhA1zj+u87eh0OsklpJ0PjapWunXoz3UXZCImsBeSNGsHKZsFzcmtOfjDAtEuYjJkWi3lJFvyoFB9vAhcEZAkGXPAjtZyryqu/wIceNGvpLMaVIevG4JFboLCI3sINxt/mUsWDqLccG2A0wETm0UvlvFUvCVG+WpxTzbW6ppz1ajM3dYz7eC7fgqSMQtf3JW8f4yz4d4uXsMejJyArEwAtOyZtWktKssJQmfDiUGt2V3Zf6KzpSdxEd3cEGLFDg6VWkCBvA7dK7jigaQehaHM9E0lolqd/6hOnjoQhkbliP2ZlWYYvcaK1GxcCLuu8toVfx3lqweqDSJGSB2qiIc68oyalZc48a8Kvw/BIiPQnQxEscWi0+wPqlNGrrQfhhjqGB6FTmA66UfoNMp/JR3Nlwcu+Im0SL2ydNOAzQmhduEGpJ1TnL+/vFjgh7yIiz1rYPpb5VzyXcSxtihm+hIzaObopBK5bPnm1+cm74Y5o0NuIT9+VdF9K3SvTfo0tc4q+45DA8Yg3HspIoFqk1xQUmCmTjya97E+yvCZNCLhKH3VIRw9WrYsS2R6VIY51FmRrJcOZxwV2piYrPSi59LL5TpS7AFVrTz8kJXekdJ6mEOpOLRDzKZ3q7r1NOCKlN/mA5WGAiut3H32evmbSMI8eEMb6FyXKZBKCSI816thE2l1mMmAl/IqR9qDw35mH/xVn7SkWOiA4FbctLJFF/3lb84xIKm+/W57zMOTMHdVdQOq7Vh1YGEfsviX4FU39BkUq889SSwPz9S7sZsAq0bm4UlebRpf2/rvbWsU5jWvX0PLRTO5mjAs53l9gEj43cs1CtTiN6Px7Ba2l+V3l3veZTZ87aULHkaFXE7+sgtvuHor4gr7FqzsoQ0S4KicOslAFgXN/xxiHNSgNqhLdl8asuDrxfrjjS8+YHBEuNuB/tJ3wzsFZzfhumtSom+C6NRzVTGjYFUG9+I0J9l7lggIY6IQMAck6Z0Xw21yStTvR87CbHNyYCqKAvVJeLO9Y+Bimcf4BtSw9XQSQnf+R/dOpWMVAYQB6IqzsbiRwEpxExs6C2BCGoXu7RqHd5L8ZbUYF4Luox4kvzVi2goncqHTwOTG4ozoMcZtVCYGr5DNnf8taRin8+FtEHGJkMRCGF6z76rIi5wnVKsvEueHO1KbRpxBwC9BSdecqR/P9/nZLPJRGjpa5baKxwhPecER3htkQ6fN5MRtYW0yRuNhFa09rSqdh1lDurZIK0xzKQ/ueo9NgFJSJwhmhjgeaJ0qkc0DMwwzh0nZFEpm6RZeGkZ5RQXhwwm+rSQj/sBR0NSDuYSNf0qQox5fQf3r0mb9/btw/UjRUE6FkTysB52fCq+dyulT+oIcZ+mrUKZn0FWOyXsBjKQBgH21jq9mtpELxL/mPLB8ygVrQ+P5+YXtAgX4D8YNQpgrz/cOQmLVYp4G3YcRl9FuHL6xQ5TqEQ5yM+azNow8B1v7sVu8ODOB8Fj7fO9j47no3Y+Q4FyyzG+qFBa/vQZX4dOzMLxqr8li1CTZh+A9TVYuoh5GhwZ4NuBDir1mlAJmXgHZTWgWbdiUaf2YrjsvMZxA6OGCgWLqbhSPYBXCSvh2ep1h595b+14CZGBQ8P/n/aBxkCjxFbHxDnHNxXJxyS5FLVEGaersAHq0PeJ0kisLbChJnG2kZFYYHRAfYR+XurE1c6PAWPv3gkawuO0gX2Db4Wv3llSQ3m6uhpsI8smNeNmXaa2S2HACUrqDowy+Xo/3GSwfz6P8nV4ts3WFKwF8PREPniR5aEHvfc8xpRNRA6CdYjE6KEv+uJ1FWobw/CybqqaCusHuXlRBHUCFscu9ZWuweLHZuDqlONea6JsxdrA4/fNSdEOTGB7mh/lA8NWCf2boG2nwvv5Z5WhTETlTnq1i9NQ+75RBEQDfKmlhwJwmaJsWeQDQaeefzXGA3b4V+ldOL9vKc9HODSpKgzzYz5DSgvAdx9FRbHA976LSgvovyvOoInvl52u8OomlpgPe6HCKvUwjW7kmzPJx7VbRQ6pZwd+J1wTgbEDKYRAh/KC4MSdewJJnV8TPQ5kknKUGKxXZhCgrfDebYdGp54r/abkKoLmne0eteBEG4msTc5k8gVwMpq8XapE5uFDX4lvO3NAC60LLAFSh/XdNtFxDXnyMuf4LYeaI70jaKsF2enyJz9StStFhO/iw1Tyz20XlFH1GjvLtmePqNm2PzedHXmpBzIBDUVYjrEbrP9sZN3GOofggJMZc9t6Pdn8pRGvWKr6ToJ9a3DTrzINRpJfZkytdqVXKDlUg3xd7xKbwF/DwaQ5cBXt9yzBeejkp/E7YXZJpgU+k4gVJd6Mt0qNmll1c2B4CC+fi58/gwSPVnOaTvwdM/gWctGyHVhszxibYady3fm/Y3BBS2MUas/WHgzFyu8X8AuiYk2pxzUmLd8tCydRPd7iMNIPNH5a0ia0IcdFzeJO7E8cqGJ5hQ1ez6wb9dFRYykKPSWTbLbyJ3nrIt7Ec4ldBTsaP1PKnOXsF3yxzIaxrhsfOFq6o+OQRtbVDQZEhlueehENW2ebLrh/7RcXUnXoHr6kyT1UXf2GF84GSPyUtazMfjlwcbLePY87cJR3qXQfUDrW2P0JtHfVSW/qE6SxwhWpPg29dRCd+l9kP7gaKlFiecuoKQYM/VKsfVnBHxrxMv1psWuDgjJv8+HofbvCzDEXGuBzH43qNgApDOe96/e0usdv8FYq/1Tl5uu/GLodYd2gk3iBAuQ0cEeG5Z/jEU9K3S6MfBkkS1POoIM2fWdFLQbHrXE0qVvpEy2R4eUmNBwdLbz8NKQBZk21Fz9Q9+HPmVZXmpJK3cF29B07HUR6oW3UGBmMR49PeqmVQkz5GVsBSE18M4KS9TIvMWBtlNSLxkxBtOSKdgE/ZbQqE1aPytleC4La23QCZMwWEBLJV7kVtHKRrGskvWndCCqJnBWtPKIMY20P+i23wtbLLW0PIkkS2m6dt2V/1lCwS0XPYLHNnwuP40n6iQO7SK1SdIctQHSnljiUy79t5p1NA5YFpqru8hoJJ/GKfs85NVnvVjk9qJzYfwFfq6EWhgnyI8PdQZS0eR82x/2yheO/Zmnx4bMD5LyKjH9Rw34ep5E1ER/1No/qiqte0+E/0RLUqUavL/yTlXLSbC/BeBAaUlxU1Ruj7sqohINh8PJVjTgpVo9NXi8Akmy9hFmkP0XwL7krWA9iOy1HMOIWFS5dhvpp8UZvkmlo3sjR3+hPiMZFZNAm59Cxzj7lcF0tKaQyYKT0hnWz0vC2E5GIhcuhPf5z1aVI2omsc5IsSVv+yUr66aKAeccDuRoGzKAGtStLd4PdMrr5vPJmHg3EuN/WrwVO6Cn5+BsM57USdN6Mx8Qxid541y3sgdZbzXLYwTPs2eodoXCZ+jc/Xs+B5jG8zRwLkpWiWmYJb6znWPYY2SqoDHojX5F44tQQ35OK4CZ0NcC+P1D6VfAPCTQbG9ScXQfse0jmRV37uWZCIxOeYHiiQofhPdm3CKsSv7F2i2LTzp65pO3VKCd7i649rgXwySmBEVPpn9rinC73DITfhajBUTK6li55XJcJhzhTihiR44fWzxtqJ9a6GL3H70WvRoR4h/8DboBjVhwMYm3TkYEH/OeIbFoOoERrQGQcEkSMOEQvqElPUxBRkFTdOJ4fzNKvnwbbDYkjqta4vcq8xfFj8Mk43KihHr+4SVo+shsNUGrZqnvdq6mx5S4sTXKHkQy5TMoL8spaxM9ek5ll9F87qWc5K+W8nbBodc3oBlRzugOeCYayFznpwxpErGKWAHN9TL90k+ISyL4dlKhCUnni3n6qRuoN/LIhfvbggbcd5SkE3A/STu5RoQdGhJfJt9BIabtQIqnjJmkMPpJWyaGmeencQmxC+g+Ag7ywvaE61ynd/vNTr+Ev0xomDGgB6BuQGER0jTYP/uypWQXp+W5ntB5EZSFW+kojBCG7WGyer/v8ZjSBj+kQzEFP59UE3SewPx1MrxGK9logbctGx8UT2L0W/ojEGzhYrIdrMq9NmnH+RZn6kj1ZiuvmQPbVNNJNfnNnWvmk5Yf9WsUHMZAnMpKJvPnfqpFa/7/qXL7GMHq9RTR4jgXLe4dzwvRnncdyQaj5pbSLXLymR0hJP9XxS/g6h76dumXgyLTLnjC12CmWl713Yp+uFSVMD2Wk75cyYux943SRcgKBiAW10WMrBJPoxdcYXQ2n5k6mQx3j8x67Iu91kZkn7oskHQfNah8RbkEfpqOcAHMr7+bi7q9NrD/tzVfaPc3umlDxpd/SkagyAAwQf2HmW9ARzNaAB24TOkIxzSRAbH/Zdgr6hfj2C0t78khT4gSVy+iPbir1IMY6qmg+ARcGvLEUu6gDJoAMR+BCmtjU0EOclAfBkKsQfgKAAuFwigztBTwhdMV8lu/u6Zt+kMbA2+i6EVbRSrNAgOiEgPNguEovTSF6+pIoDHS8onNTQ+99Twsd+RgdHQjoNDeP44QwbjvsMgL4TGMTvDDD9HmlPYIast3+PA3YEjjug2jRgGM77oFvUedZy4eWzU4uK7utZ8YY66iG+NOfIu7MqOclntUBc2RjRaRj4GDpxyt/towgwQMujNWIWT4m3G6YzSI2tHeTZHyNhSP2UP2VSpl7BoZZ3+7EREgHsS43uVvKyfH5tBfOCUKgDjvwMpOquMcnDJlGjxvizIf5ym0gHlZ/DP59XkYEKEVNTZ8wFm+i5N8sRpGAeeZN9CtewqOviYzcpKavAIL1xgN59gNUZlTwKAc7Q3x/NSC70oAlk9UHtaUC4Zc1CEfqw7mSEX+QBnMsUHnMtQG5YyaIlG4AhllmeHbuJENhxwBIcUqw0uigQnGhvPEC7YldQo8Lwa/wumEv99c92HVOW8HHj3vig0QwxCFJxPQPWvJ5JcRwnYY3febBhN17lno1J6/YgsKadu633LBS58lqbrUIdsL6qWsZPOiLK/PEwgXqRZvxek3rllEw3lAaTWsIyPgclvrHjp5kgW383uMynCaGGGyRrnht9pNtN7D5YZWVYebSOcnu7ogwqhylpkFshgrb+lCLnYd6idKjyE6sBQ7dD0M3FPz7tkrxVIlNcqGVxsQ7e+YscRvaqF8qsQOfBUuGsW7vutNn0aUL9dTo7byU32xSucL3Kcr7aod/Kvvn7Xsm/8fKCd/X2BnK0chOKXNx3Qon5EDFSKWAZwZbChKgdgAqlVPdNsgJ+816NkNgfH/f51DWlMeZW0NHpLdD0WDJWjNO+E7uKOpWeZKCPulkKUFjy7Mp2ea1BCRibl0U31o30PdrXj7qUkluwTNyS3tZl2MrqasUjAEZqRa8/hV/oXajxcmx7QQ+8JI1gZF3OXwsbI24WIgzPFiPFmS1MA0AynKuJsUqBJ/SEtc7wS4xh+Z7udJOeaimSXZ2zF3U3i3iGVsMylI61aeMAYNrkhydxt3Hb9P23a/vtB1ugcBoQpdWyTAmpqWR3G9rb+DcvGsDYI/VkEQERTM9mLJlMJGieNKh3WRV1MLJ8CxF4CfbgJUYuK/h4QPaLSjJijqLsZ+XudmdKqoHx3sxrML4wqFo5LdGuwaK6iI9FUWDY5gfoKEhOFMbO9MwF+wZPXqjbjirWjOGpxGBU7X1dqdzq9ZoRMxeZe6bvB1ZXWEhoAzXDD1WbZxXrKgjnVU4xX5Vg0899BLLteUi0Og/zkXfIn8RWFGrNXuedJdIYrU/rqQ0ZEM6BuXBPW2UmiU3mT8tF0lPlhXO3lE5hnFLFRsXcSXmBa+xZKY0FI7XeoPLemwrSDn+83C/CTuN3IgigFoVW63MC8wxb5Hmv06ao8nijxjBJ1EKojPc64cQzLpYu/RXnBQd97BDtHGbshCyWvFl85324ZbaVr7pWyQwzoFQ7UYWIJkMMfJILS+r/hrm+P5o8LQv460EACNgcHba5GxgDz7NntKygva3s+n5vNCOUNEsDHKSmBmpgQO7tlssumjdoNQHLM1PDfRqMig0yqLyq2a56ZExVJJ4DSvaXWw01+xYv+31BkXQfUtDMIxhTzTDRhpTslw4pmPFKv9eGPAumxseiYIjmzstXGiZv99l8bcEuT8CTtuMdkiVRdLDGtVo7O9zTxejWazxKPq2f/nJPYfp5SAoXt1MSKPTkwm+3YmW0Iee5rsBXRpsStIGlswFU2AUwJo2WuxCbCNIGhlm8Z/Z94JhQNuYi3AwmA/1vZGs1ckEn4PoBUbBCxdT9461WWbwuQIKXSbC3y41OAasEXQDQlFQXyQaX1+VZR23HxeCFIXf2OZHz0wAlqYSmNH88iBnz2Jro7tcp1kQv+8/LbhvGxFvjKoKT2YDdryfJFBU+amFUeHiKxUwpxl7I8//OlZA4lEwjPboACfCa34stwqU/Ln29lEe24Ch7U/D8ORU0gCcuCiuuryUi3PyLzR8XIjwzvdYfNmdSiSUv+gT+eTbuGFYKzKlduZsXFlMeFK375xy7NPoD+dp9m/wces7rx3Q7pDaQjoH+T9eT0K555ZIrUyRp3kS8l26z9zLIdIDTxauwLtp6v1hKBST74IrBxKOasszGn2vTv+s0rtuUWfdv9PSrTKQwKE9nkvSvFMU04G4oHrFSjJfsI/LlqCNl34sjsmPJ0BCj8ye/DUKVOQSeaRuj+QO7gO74X57EfTIjfvFzTregDI7GmxEJXsTKiYMi/QDgrDjatehCZb/CZRXT1o6ERcf31pAvYS5h5iT+UYfzjHy6pQCZPdiGsZcxTIeFHgSisVHV6BFo0JwgjHm1Ltm793DZoraVHh+QAfgzSRU7Bp1/y7NHX96S0gOrHgI76Y7upUCSmjrhdkisk5SEn/5B1F2zxPVH9WtQV3fatAgHDMlPGjkm8hdP7ckcLvYtDNOkvK7+W6DL0YWlPoPjAshlDxFtG1B2BI8mtOXVmMJxUdQbd5B5k3FphR+77Ood9ikCPWNcMG+RHkaYXU8OiPXOmKlXCpgjW+qw2EtZBHs5Us9kpWd58t1egsjuqYvrOqILQ05XxiGTeQ9efEtuBKrw2XZ2kmwdEro0L6iHEpwtuKOmy6xLX+zfxFbhO42Rj8vuVj0EXPJ1pSMgoxEF17MOEoYRcRnrP1eVd4ZqONKJHpkAxbqlmzfCOasCWBAcfly9JUMgB+br3+2ccWGnSYUQSegmBR4jp/XZc+48LEAeFvSB4Mfpm8+bG9pcigoDuem2ai7PpANtSuuSao9xX3UJc22a8eeoMildgmS0DwfBfL4JWuzSUkUPlh0f+E/XsVBJW/T9H8dmAhbOu05IeV5PS4rlPk6HAVmsBrvrXjEwl5KXhGDiFb4hgm39aY14eI3ReXi5NEHYQOMrrOXMB+psN4y5lNnkzxzCe3lB4TPRXAeyoL8yDnPZPscul0hlCqELS8M8D7HFezR3jyrm3LrnZeW5tfxSqimuahc/cVSU4B8RV2YY1J31/vkzeH/GwGqZCEqKIeWiOYr03xY17e0wma7pUDc2246ylvk4aW7IoiLGvaexQgPrBErnHI8S22IXsdn9C5X2p0NZ9UXzBZE7C2W1gnCvWkcoD7VnK+qtWUt/E0/C5IVSRZz5/jL4+HeoEeImbU7if1K5kLh3KY3/soSSbHeLRwhvF8BvMmIbiMn+Ik/DUmfa3boH96xOwBubDCNT4nxToJ1TW3zQ2o83eM7Oa/3zAx+pm3bfjYt//tkfth2XH71qtYHa3DwjFzrCX0VJDFAB+bGXVk+Td++AYRZXl8Pk5V2TQDKDQ66l+1xi3NKzUzNhj1oVMl/cIe1SuR4WlZaXw+SlG1uZkdafr2HUi4DkXlQRbTFAj0xFU+b7iTeq5GafHVmLqxIIddXa9T7Ec4YxzEC5/4tveHifrAkFJpP8bwRyl0yNNK/USP/VEM5In/66xoxNC89uzRbBN7IddkYv29sAjT4NXHE9ZM0HiIzIqyTPSJpdK53Kzq9WnJCjPIOiO7T4pOvt0g5fE1uW3JQDu1/oJIumNHcxSxWpCnCzCcktGDJma3XNCbq4NKs3fUzm/hxLrznB4j9HCjpMQUpCstscuvse2WxxbqdZbwm7qw+IqjaIwEORAg3D4yqJNjvq7FykiArinS7BAQ69MhtvR6/lMU/7jJDDEqWt44kXT7esvCzOXU3tzd84NJDO3qKuuZA1R5Tc3k6MnSLj8PZsuJr9bden8vZI5DZLZSfg+PcusGcJP48nkEE257DZye1OucE6lDM3EqedOxkQGuPnJa/uBMl8gHmyi3amupxdMrBsiG5r7t6fkRUzK3xNtSQ8GgtGVZA6Aywm/DAJZClW+3b2AIrl3QE10RF2bFw13zKzc4R2zK0+GwKWiiC/aZ8yAtvlF4cVGGfzR5tpip3vKTbyboiMsOFca1sVC1Lzpg04ly4uY7GkbgEqADWArytR1p4mY8soBj34SjgAgoVx2143k+omwKrDi1XJTADsttYvyZUfRci0XITODgaf1AJPXyhl0AM1TvKzZWSB//39nUbpV+HGV8SwmH8cgZDIHe97c993cEbBxRNt2QYh1acsKRQrMomail6UTFmdGV4vSve9sfzCJJoPeO/zUeN4I0+e4d63vx6cGiu4EqsqlbJ1C2znUubAgUcZnXyJ8/QV039f9qkX6zz82LbUwB+Vc/sEdsBc6Gkz0tes2vjUDTR8qKr0/yRlVQrV214ptOmZJW6idJPfrh9OVRyphKd4oJcaJOJINuiVdiZmfIjHjPqOdXN+D6R3GrWPti6BQph0sgmW6wZyPjQyLGlC26h3Ia9tB9BXmO0vHmy0PfyEBXa0RFgAtoMzTpKtTlpCJ81YoiVsZS1jmlZ2HzTsEK/2GrR3t77C1eZzISsvAX/nWi2aleDu/+yv9u/aKMdVAAUpuGs/3ROSDoceEUsgvWSNsNFezp+G+VZPHYsPWklzpwXZRTf5+Hb/yMCHde34uT/PUXimQTVOwvgZcCxZjYADO64HOG0AnL7w6zgVG67XGp4AwWEF7EuZEWsrDWr9FcXO7OWExBAbLpzNzvimk/aNn4NrFmOUvn8hLoGVkReLWY3R3MK5Vb5TkH2B6gVPFHa9DmWn2KlGzFaSlWFKR9zgE8pqJ+KyK831pi/07LJ281o3erylqTzVTMOzlS/JswnVo5shNWEhLRakj7L6dDHMAV+YYRD2PL9Alziogl7N4CANijjJzx6uaOPYdvLPswyWzuBW0+sTlp8IOf/ET0uxdL6FcBPaG8s8vkjZmtnJ93EQCI5UUohvQRd0Pmx6WO97MWjPEngknX3FMexDL6zv/NrOK1Momaz0b1QE242M17w8ZMmHClM6QzJ6zA+stk3xCrNNhTijmQWu0FqcXzLwbTyhsPPX+5EKw4gk/kg4d2+8WwRS15HhPzudq1/sTcW5bws9BvL2nloHuW0VUOoIssO3d7HePd94MyvrsXOIiEGctB/z7+2Z4SmG9KwqKzAX5emAcWGcHbakfhDYeQl5guoLaOdDQxCO7f6ZkWi7GHZ1YSGojAAhi39+GRwZGbDJalky4qf1I+nJHq4SfCcSxJCSCmB7DgR86v7CI6nDI1ACeVgj1VXvc0nbE37DUEyxBwmYBWJjTOXrif95shi4B27PYJ3cjApHpsu6nUqtX585cp9roCwfcRe3Oo1yk3ZdVwy43UVzQuC7hI4QJMsgnE68AQzUEr8e4X1PHTrwjEgftXm00ge/VjYTTtc/VDyM4zDgmkfwk4xj+T1Uiwi7dYZXp909METimxc4jy389nkbggD9mHRGFe8v1LpjrT/gFxEh9uDDQ5XJmRacZLbdJR6upeqFJkdMnJgsvjAZC9PSQ1UD/GB9oaUKtkM05grG4+iNFe+r8ttG6PLnqk0Wes7zpGuhBDtHZFzEuHDPnhZ0Knt/3WN7qiLPv8WBX/Y08L/NjaSOxP5Nn8yJYejYwQL9tFQop4a/gDE9romUN5OGoVeFkn4N6UMV9eKYT4RJyFaM1aXLizELxqMtcVPPG4wfBUIOZrqHyCjHp0j1KDfabotBhVbeFgVm+WYZ4u+9HDCTshSD3PzStVkpY+kiwSjyP/aBMIHh6F5DU4lQR2yr/oZaeP0ANbt2IAveqHv2XERKkGT8ZsLBvMZNcf4MfEJe4G8j2u2xr81DM3Q4/ksMlRO0DnNFIAd5oLo7qejKrblAFpHGvPgzWLa+HAKC8CTO+brl2XZCRdZtS5VRRKtkmQGFJ8pKYAIQO0zIAheAaTW5IS4kaN/5+f+odq7it20MjT0y0EwjxnAal4PnaTqJT2+2hxS3hWZKSRqBIpWui3IYQsPMgj51ggzA+1iXeVi1Q8NCdJQoExMrFkXQxzGf2QqdxxJAiWKC4PTfyLZwc/qOIZmvh76aEVP85RGxYedkc9fxw0YO2un2WK9A3MVSXcYv5QH9uBdarFj2KxBz1Kor9KOJODeW6xNRbkpg4CNDN0i1k16p0L4ILftf3DKpgeaUbeVnYrC0SLaUCfYOkUi0DLKUIZF2toPEiOo97HB2tgAmWdBsK3wZVbvVA4LDPUPZxPwjE5l+X9pNf1CRSGCr0YvU369gSn2t9rz7UPtS2b6A1xGHpjDW35hXa8IWx7RK2pbFQgOiGoT8568hEb5qXgv6eY6Vb66WnmyE0DxyfelbrqOzEy8QWW7sOKWCvHVjkxG8sUoeVLmPsZ5vz1q4HDfqLLhnGv+HPy/7KAOzhWzCy8+Eb5TnTpZ+KFkCsiz4IbtavEuVDk9FuzlergxrV1t0fnDmZ0dcUbfOOXcY5bLApzAszBgJA8R+CdKzbhewDUsMJXLRAEPVAaSGhY6quxFg1/6bLW0pXab2k4aBiuuqfvOuPNCBWpCxyoxmagD5ZFX5DsR3Cnt4SfBJPfu3xiakphQBc+EbRkuN3IxzFIg30dkHJjcsemFHVC7sSxm6JSGOVcar+0rVO00/xH+OFJRnduf4EaVw/e+XjZJR9uQAlSwW1Vt2yWn6QiZIXLuYBBfaOl8Lk6cgYWpXCUlqIhz6KD2cN2bUI1ovMtkT4A+/hP2vjcrv/0e0BYmDXzaaR/UdPmAdFaMTRQG1MyPQ7OpbUT/lyzpuLlve/X5MzK1aMGg4JKN6kjDUzBW/mbhynLLqumGGzioBaOzTdawhPTrB/ivrfYHjSqWFh1CJnHyT+sn9tbXwtlYXcXM95ORd/oSRRuJpzId+1sGUd/gJYSO4csAs3ULFHZX301tZcOA+ep6hZRcFoXacnjzrPO697qLVaVKzV3oSd7vD/bAlKWE+73GjjWX0QhAtgr/SE3XCpcnASywKECiCuzWJZ9V6RmeBOSuXS+LPrm+aZMlo3NTodfeJQLChN2I2X6RAuu+FZqkqZEmbORe4wDp2fkwqG0BhaB/sHMEyjMNtQBASnlUm2hKsx94P3pFhMXASvYtsYupr54C1CWlriyztJ61/GdZmT2OzZyYyJOVZhs35c82IcwgjPSLPPkOVxMxFiqxLC83EoAAdRNEjrdCMQccvGn3M//5Mj7bw24Xj3TCphgsfjvysf20RlF8F1v3d2VWLn8E5y2lo+fway2jzrW/U02KIEsVBlBnTgQ8q5Ve4lCH4jSqi/q56gVuKb26LI68PoYoFzTjafs7hB6gOVdB4fvrgHAd/1VVxB0PLBJM7aCtlQR+Q6JP8pMzWuVHti2RpRziMAyU1+YhgQNS3Fd4YAiS5hqx2mStJv1wbB8IbdK+7+mLMzXL9u4P5uuw2QGwMhBgN8ovnwz+WobdIbM6ZULIF4RWxbYa3AfexLFB77xoNaP26YIFie9f9TzJKk17UB6Sqc7mTEoV3CtEj3VBDwSlDDA4s9htfq3iw6e1HCzwj3EvgxeQIJp16dPGRuOkVzNLH5aM7az81gWNWEkD43oujXN6TuaP9WTz8V4UqzhSwv1x+a9MnNcrQ6jLE0ErVipgpyWLHbYFXaCLR5P7KHFugYx082zOWCyLfCWBbLiTrhW9wwGwNixZpYRdLwms1wZDeR1q1doZPssS+fgUr/t7Wh70RYnfQUx8KIMKEbLh4VBjO6I+K8RV4Z3ly3rM88rTo1FhFpKjC0bvKYJr6DhoMshcOEiikj688Lt8Y8GxjG35xEj1uV5I8PgGrJT5pD96Vi7NdUeJJ3bQQEXtOZU0yrdNs9U+2VFzobSjvx7acyYYu4xbhlpf9DOPT0kSFnwCRJ5z4FiD0ZHncn8DSPyMzvYEq7vHblsrpHgw53tOrz7bXv2L3sAPMsOs8KFoVazP2iTRtMQpcrN8KndW3L9FBHHTqup3/6nDGFSt6jh7Ri+9aYw9/hv/CIHeUHmz4QvREpUs7ViyH4X7s7uBk8yOP9njwERSBE07NqeI/FnIRvccJmP/PdC3pgIs9Ssr4Fir7i+wB2Jqx5nhYul1tlkAcmFXkPFK99A+GIy8wCA7E4J+9i1cfqNlkbf6b8YGR4qXc9gqJGDAIcAhIfxkjIHfwOB9YNhHAnN056PzK4pvyEfU3gmH65t8NRBUSlc882NM+Z7qXTg4dsC3cSHebvF+B/LrYEcd6eLYN7PXixyIS2sc86qLLSSklMeewZSZiUIoX7FL3ljgvNxw81w12DHxXhxg70yRWsr60i06UOB4OrquKMP1+oZXYPnonMu2wK5ZJ2kApbbfMpqHYePSNRiGU7cWQ1lpqaNiOEyJWR8XIBsCgVeCAChVqOWckDG9CuCYs+pUOpyYg/BA2eTCCDsB4wBjA+v8dVIQ1bjFR5+fqc+IcaPdbcI7PjV7Bx25cudievoniaKoNlUAF4KrEvrEENAvRzSbbgAHa8/SPhmzmM7BxKysPprWDcXUCJxQtP5WykKhpW4UXfzUm4DclohwEhzQhIie0J+VrWe1duJZTTF3yEMnKqLue+tRNO4kv6OsZD06e7gzPahn+7SjiaD5gsts/gaML83un7gRQKaKsKQ1r4caQj3KKwcvShvgDb9zr4Tu+TCC3LZo/OwlCKadvKLIq+pGtvsrYf0FuG+TznEnDCOQzzUxMyKmcN24cNPw0IZoNJQ8cP2GXM+ET9B5z0VWLwoSi+WwYHZ+jfqvA20SEGKIXAx+af8OOf4K7nR0nUjeKpwr+J4mf2nTfHOZqwA99IiJ+i0a2+sypHCShPjjhjAUDn2XlztJQLYt4AiAC1RgQ0g1EbsJMjd7B5wvig0Nw1/bympI7aBz7/1/8Afzb8d/t81qW//OTL33Oa3+XgsE/YajIfs8927VbHw9GNV+KPKsbUpYvfYCSDLDXwPpMJ/1lbVJ/l25jMzX7y1sePm8xF7kuKHz5oVqrHIghynjARkU7TBx6wJcUSISfSBw99aNTLpcX7BLG+nnUcUOhG8Se7/VLqykJzNFk9fCdZ2oAj96YYGccUirMzqqdnXy7nZeM9fRdtB+lI8DD7mWK0LDkvb4JNuu53rggEXfY+vSEuHYV9IW5MOqQg7/NSbOgCjS0yEs85vcBB3tFaJrDOHqFXA5+FPOsROFr/EptG/NSmyHk28g3PDocW4GoH8y9V1lQZ0vmiMcftAfSurrAH5LVv51VoNN6LeBhbChgWW5v91tRZbtaCptza34LFS4YAmH2ZMCFNWiGtPJuu4TkdOeto8p29B3+l2AS8x7DdNjV/8q4SFzRoYfh+k8zqO9tImKb+qIL+LJ3PyIxGyHzPzDBuDdM48OpAQNXapnrL2KaQdmMHGmrZx5CYDUu20CeJsZiHozvYa+ATr2opl3/f7b62eTngd5TiPY0bkFYy+N2TRQtKb9u9N3MXCcJXD7JJrLp8D0pjTiuHF9lHrpq6P/8RwsAH+5sgU7QuutuO8lOWzyeVlAylARGkZ7kArfpR69XmjKeAzJkv6xPA5SUFs7Uv7wr0CDD1Thoo4OafonF8uhS5Mr6A+4N1xPFNi5l0IlP6FRsWoW17zZntpGcmGrpsAVEUvVkormKF+nRkfn4ASypjUU8CihqCnKQXumNfJzEjceem7jQ/ZRBFmypDW0lR1a5cKX0Mj53A8qAXJIuQwI5QqvIxpfAYuq/ytwJAuI91aXyfDhb+Qtr5+RkUxRTozLq6Nf/wsqmwhOKv75t87634p4NAPUroKu9UM5cjr3C8bwAfLQ/d88es2CnqMdWul+0t/GzE02SkYOtYsNpnchS5vUfIS1prxlE4DkgqTedPKjKlu9OSvZGhCfBc6jp69qWTaoWyXILTuLz2HZXarhIIbepqKq6xn99MHIiEXldKtGk43aGWsRdfEm/VeLh6cQdHTkNHgBCv92zQ85HYnN+Ac6KZSZkrGlN85oJUpc4u1XmXgVAkD0Tvx7MapUB9+lCIoffIiX2nUgPH82xmKZuvXZF8zdtRs71zMjYZVEWk7ZLIxSwrY7gh1NKqucHW2xM/BNpZAAOFCnyEvzB6aIZulMSd+Dd1RurrJ7LXsHHUdB6myBNXSkxFPV5PnFUvu8thSQ6M48ynFx4VegZyUbJ7lMhBpN1drZ9BCK+LN42RbtGb4iFA8KLl/SeC9ZLj2zkIIsU4l1HY0uSsHNWKjQfZI0XryEdTeBx33JUCWUHzz/0h/Ux0PqoQZHcRP2Ri2rIpsPI0E8T+UcI33Q6r8OPE0f0vsDCuGPIgzK7T/aAJ0nah6sKdgx2eFMpp4TJfOrcYFV5IwtbCS9OielrMt60LKAur4UZcJBUi49Kliw5xlyHrHLE+hSMt6BMDrAHmT8u33E5s/wZdCiU+qlvZRfHKIn1Bo5npGOS2t/BI/ezBE0im2bHHe+7niZx/b+RyHTAk2uQMBk4e//S7rol/9eyESap6yKz48w9pyybA4XCVza71dDcCrrZSWWXklgP3wmtHZw0GKj5KxApLf4UwhA4KMoVtf3RXnCuKejJyjTrpp7c2y3W21wZi7sOgqI+gXEZjHSS3Zlkc4Ft/2R8xblCNd826OAc3Q90ELz7jJ8l7ab7UgZF6/xUaAkYceu7cuWb+saJs03tC5yT6Wr5w1nn6RzOM1Ki+fEuIy25LtS9N3o/dOjNl50rwKXVYKh5XyYeGvO42K8St7Bzm7o/h4WsXThwSeqMjALGSM3YyQmddTM+/+jk54y8B7t8QnqnOsfCqXG3i5jtiEduBWGUnk/nSpxdG09eQlqo37YSaWiZnreLLvoH6ix3bs9arUTdRqzfPVqdsPYSCTBmeZghbQUvEx85bZIc411biW0ZUewpNWPxhlCkmESUm7mIiOjpDsEnfa26jUOkkEHwUCISWlSbAs9mxt0T36UdO1p5hcxB9lfTXihOjE9p6k5biJt0bWYIO6WV4/xX0VmlNdYcfdfky77qm9zflMNwWkb1wemHcRhjWtmLtt4zUVQPc4rn39/WmiFP+/8foFq6F5R2zQQPmgihuLQ51Su1RnRc3rvhdJaBKaRrFQTIH7j/MmvK1/jpMfZFvEKcxqtYqXkGg7x67ou3IyuGrqvLAYIm/NTHuFM5ZnQpQx+Lb8js4Bs7LVnHQWZAm5BIWuF9LKyxNcDKgMM5r6Fwk5wMYifmu9I2m9KoP17ocM4v5PSeSfU/2rDODJf4RAXkv/VvJnBzxugUVj/g6gGcHOcLZnfxURytrNjsvtPH8IbwTCRlVHq9lcD1x3uAMzm1J5JYZpkxTEN5kjsAAZRQEs+7T+0cSHlbjIqb1qwQRZ7sOTmQU5mOcc+QvbSQ6Yr4iZ/SPGBFy4mHLsc11pQRwFwRX6PEAbqlnx2IzPgbyTAGIf0PuvpcvxRbXbyQKth+VR3Zhohh+07+ctGyq1J9Tdv1AxSFjB5cOQnp4bFFCDpoRwI/cSfMpZf74A7uHbxTxF+L4llhb7cK16AzwAKe/DKAk5P0VS21WC+pz1Eqbh8PuJaBEC5mb8/alOsNaLuDYRP7DBOznW8uOB8hoIA2PV4uNfvAsxw10XcNfsZMZXGT25+Vp8bu56sRwYKEGTMeX47ACO/TZDTZ0VHvt1NUmb7wWzS4moeXuWQ9+KzA0lbKh8U3+bCiw/GENtwMwkMoYgBP3dfZ8ojjynTv7gElAcYsTEVkJYh0NaFhResbLogzhd7Tm2qjSXYW/yaELERi83RtvM8fJ9IIpReoQdUmqerHwQU+Y0PeykghuitCPdCFNwdBc5os3CuZq6N8TCTEDXHSQDXumrDG6uDHebB5izOraGtwLSrWcawg8uCgwXcPL64oWAbAOmP5dLQr/HZY5yQmjbhKUpAwOX8wFYN1Y1iLeUL0igxVTjDl9trNBVdYgfwfEPv6r1+1zri0k0XY/onLHKuWgiNE7uulddpDMY/QdWCVbGiAEJK9yanRCqssJ/FR8B7mbbUp1YrXRFKW6MrJ4hn60Tk/dIpOdxicE6unmso+LRL0MYmY810ZuysjZ+qj5eATZQp3BK1ZrmNFN20PVP2WHV/lM+HYkqz1J+6VMhMzIaY9cR5Qh2RsEWLkdRBIaf8PpuWLJhKhpIAAw8ivFWvA12IXwEn9iZgADXR/fTtZ5xoQWpsuqi5dIu5kDYxIp8SFjm19XqNXiieup/P/EThvtwtYDQgYrWiJA41WjLjBxQ8B532MXMWNrRqEevJu/qfkTqsvNrpx7RmPhC/2rOZcN/AE+j8Qcvpbpkeyj1jPAPhNqCJ6UMI81lPaGma/dyTaHQIf3FofzTamb/t7fVGbP3OqDVWcM2qrO0wRETKHpKgjnsy/oyJea32GD6Jk/uAKETBb9RE5JPaOLL4Tk8NF7cVsLHcr/eN131dBAc4110KFTS+ztxBq2jN1J7VxKyOzIvrIslK/lCST40AnJ5Ho1rjqYqI641MENn9oHBZfv5wIsj08AeysENwQdp3WLTgzmt2sTleYdFz5Q5a1lUjEpOb1x3HtmLCetIuHwGEtLVksb3KAkBeVNXwSngYVTsvOAIIXtqORgXBaWhBQgOGYG+EJjMgPK2Hjj+C+aUkHatNKYsCM9WSCEG6Sj9SmZ3d/jqadKI+Oy9AovprJu13nwTmPU6y1VVl1/iDNzi039Azy9pfjYDUke5O9HBvA0WhoBeJf+2TGQ2pgxmlfz/fxnePU5etBxXaByaqBMhMxG1/A7Pk/VZuv3zlAAlwP3EGAOKsomcHPfHQnFDnW+4Yg7iOyBYKTjZSywk5hj6CkB6fk1DH2FBIAx4eqje/CU/ZXl7EzEamYbEf7Wi4CrDgfBqze6xNklATZGFnDPeA1fEjOrAQLBmTA+NH62Yaw3QoEzVjTw/8sH6gytekFnWfMHnWQxcCWI7wMXvGNDvXtQUztqrXqbfRw2Pu5oclsFvyuEC7BzAefbp1BF92lJpNK7WDiCBUU7BWb7y0Ly9BhuD9XmNU+rGfpxWeoDUPcAM6sAEcKfRzvRgCcAcTsoU09t8EEh9o46wX4ekf4jhgfChHaPMBHqCrsT3J65kgbGZj0y7lDbk3nmGsXJKUTOAO4CF8II22jrOEH0pjpNqsuOfyJKq7a9E+Pe9RDHPtIYNUKSD3q7IfApYBfh9li0jGYOTR5yuxrcXaJkwcBgZQWKr59Th0r4C3iKTXq0khlgosv2iFOrlf+ozlllLFZwknEXUW8ZXrBPaRTvFne9Ic5IkOkysYSlvdXm3kZqmemz2LhCPvv8VvmEfL1rjxway1UNTccyEjZprgHRYlInb374BFgXqh2c+1C0NgZRDmcSKQWrYvLTRPGp2BYb0TgPygC0GXhNZoE9hgkOsLwJHeQJGan/nbr3tOs+Crv73KG77wmjyv6XFh7jCaUYQzj/57Jnm0hGbh46gboZjlBhy5r2s26gUyP1E5eU681xboHlwSBS/AZtPjPYNBLDw8FsGyIxQVZ2uBgN9TivT8hHCKWFRnjy+knshskHRVUFJhnmP3AO70Rw+Qeb/0d/hXuQsd1OXxt4wBsNrwplf0oFBQQzJorf3/dh6ybWkhPJPZiol76n+K3Q8nfxj+L6WKGpR+4GfTW+U7SJj4e/XzklWDEhzaWtOdBfcy53L1WOUuGI7c6q0pS177w3P93C439lDVXPbG3oQUIsHIhXwIw==" title="Mekko Graphics Chart">
            <a:extLst>
              <a:ext uri="{FF2B5EF4-FFF2-40B4-BE49-F238E27FC236}">
                <a16:creationId xmlns:a16="http://schemas.microsoft.com/office/drawing/2014/main" id="{5A6DAF6A-AF1E-44B4-9C5D-34F8356F669A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57200" y="1676400"/>
            <a:ext cx="8229600" cy="4882896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5D91AD-C9B5-440F-A22E-7547A2CFC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008" y="398697"/>
            <a:ext cx="8229600" cy="990600"/>
          </a:xfrm>
        </p:spPr>
        <p:txBody>
          <a:bodyPr>
            <a:normAutofit/>
          </a:bodyPr>
          <a:lstStyle/>
          <a:p>
            <a:r>
              <a:rPr lang="en-US" dirty="0"/>
              <a:t>Link an Existing Chart to Excel Data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67A3B6E7-6440-453D-B2FC-0AF2E47217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0008" y="1176928"/>
            <a:ext cx="8229600" cy="685800"/>
          </a:xfrm>
        </p:spPr>
        <p:txBody>
          <a:bodyPr>
            <a:normAutofit/>
          </a:bodyPr>
          <a:lstStyle/>
          <a:p>
            <a:r>
              <a:rPr lang="en-US" dirty="0"/>
              <a:t>You can link an existing PowerPoint chart to Excel data to facilitate easy updates.</a:t>
            </a:r>
          </a:p>
        </p:txBody>
      </p:sp>
    </p:spTree>
    <p:extLst>
      <p:ext uri="{BB962C8B-B14F-4D97-AF65-F5344CB8AC3E}">
        <p14:creationId xmlns:p14="http://schemas.microsoft.com/office/powerpoint/2010/main" val="26076535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1219200"/>
            <a:ext cx="8229600" cy="685800"/>
          </a:xfrm>
        </p:spPr>
        <p:txBody>
          <a:bodyPr>
            <a:noAutofit/>
          </a:bodyPr>
          <a:lstStyle/>
          <a:p>
            <a:r>
              <a:rPr lang="en-US" dirty="0"/>
              <a:t>Use these resources to learn more about how to use Mekko Graphics to improve your charts. For questions or product feedback, email me at </a:t>
            </a:r>
            <a:r>
              <a:rPr lang="en-US" dirty="0">
                <a:hlinkClick r:id="rId2"/>
              </a:rPr>
              <a:t>david@mekkographics.com</a:t>
            </a:r>
            <a:r>
              <a:rPr lang="en-US" dirty="0"/>
              <a:t> or click </a:t>
            </a:r>
            <a:r>
              <a:rPr lang="en-US" dirty="0">
                <a:hlinkClick r:id="rId3"/>
              </a:rPr>
              <a:t>here</a:t>
            </a:r>
            <a:r>
              <a:rPr lang="en-US" dirty="0"/>
              <a:t> to access my calendar.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19897" y="2460784"/>
            <a:ext cx="2099501" cy="74873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hart Examp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6053897" y="2460784"/>
            <a:ext cx="2175701" cy="74873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/>
              <a:t>Blogs &amp;</a:t>
            </a:r>
          </a:p>
          <a:p>
            <a:pPr algn="ctr"/>
            <a:r>
              <a:rPr lang="en-US" dirty="0"/>
              <a:t>Support</a:t>
            </a:r>
            <a:endParaRPr lang="en-US" sz="1800" dirty="0"/>
          </a:p>
        </p:txBody>
      </p:sp>
      <p:sp>
        <p:nvSpPr>
          <p:cNvPr id="17" name="Rectangle 16"/>
          <p:cNvSpPr/>
          <p:nvPr/>
        </p:nvSpPr>
        <p:spPr>
          <a:xfrm>
            <a:off x="3310697" y="2460784"/>
            <a:ext cx="2175701" cy="74873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ideos</a:t>
            </a:r>
            <a:endParaRPr lang="en-US" sz="1800" dirty="0"/>
          </a:p>
        </p:txBody>
      </p:sp>
      <p:sp>
        <p:nvSpPr>
          <p:cNvPr id="18" name="Text Box 4"/>
          <p:cNvSpPr txBox="1">
            <a:spLocks noChangeArrowheads="1"/>
          </p:cNvSpPr>
          <p:nvPr/>
        </p:nvSpPr>
        <p:spPr bwMode="auto">
          <a:xfrm>
            <a:off x="3310697" y="3285458"/>
            <a:ext cx="2133598" cy="2505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•"/>
              <a:defRPr sz="2400">
                <a:solidFill>
                  <a:schemeClr val="tx2"/>
                </a:solidFill>
                <a:latin typeface="Century Gothic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Century Gothic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B5AE53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Century Gothic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48058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pPr marL="171450" indent="-171450" eaLnBrk="1" hangingPunct="1">
              <a:buClr>
                <a:srgbClr val="760000"/>
              </a:buClr>
              <a:buSzPct val="65000"/>
            </a:pP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Watch a recorded version of the full 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  <a:hlinkClick r:id="rId4"/>
              </a:rPr>
              <a:t>training webinar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 for step-by-step  instructions on how to make each chart type</a:t>
            </a:r>
          </a:p>
          <a:p>
            <a:pPr marL="171450" indent="-171450" eaLnBrk="1" hangingPunct="1">
              <a:buClr>
                <a:srgbClr val="760000"/>
              </a:buClr>
              <a:buSzPct val="65000"/>
            </a:pP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Watch short 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  <a:hlinkClick r:id="rId5"/>
              </a:rPr>
              <a:t>videos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 on key chart types, analytical enhancements and productivity boosters</a:t>
            </a:r>
          </a:p>
        </p:txBody>
      </p:sp>
      <p:sp>
        <p:nvSpPr>
          <p:cNvPr id="19" name="Text Box 4"/>
          <p:cNvSpPr txBox="1">
            <a:spLocks noChangeArrowheads="1"/>
          </p:cNvSpPr>
          <p:nvPr/>
        </p:nvSpPr>
        <p:spPr bwMode="auto">
          <a:xfrm>
            <a:off x="6019800" y="3285458"/>
            <a:ext cx="2133598" cy="3496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•"/>
              <a:defRPr sz="2400">
                <a:solidFill>
                  <a:schemeClr val="tx2"/>
                </a:solidFill>
                <a:latin typeface="Century Gothic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Century Gothic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B5AE53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Century Gothic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48058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pPr marL="171450" indent="-171450" eaLnBrk="1" hangingPunct="1">
              <a:buClr>
                <a:srgbClr val="760000"/>
              </a:buClr>
              <a:buSzPct val="65000"/>
            </a:pP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Use our 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  <a:hlinkClick r:id="rId6"/>
              </a:rPr>
              <a:t>Chart of the Week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 blog for inspiration</a:t>
            </a:r>
          </a:p>
          <a:p>
            <a:pPr marL="171450" indent="-171450" eaLnBrk="1" hangingPunct="1">
              <a:buClr>
                <a:srgbClr val="760000"/>
              </a:buClr>
              <a:buSzPct val="65000"/>
            </a:pP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Visit our 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  <a:hlinkClick r:id="rId7"/>
              </a:rPr>
              <a:t>Build Your CQ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 blog for tips and tricks to improve your charting proficiency</a:t>
            </a:r>
          </a:p>
          <a:p>
            <a:pPr marL="171450" indent="-171450" eaLnBrk="1" hangingPunct="1">
              <a:buClr>
                <a:srgbClr val="760000"/>
              </a:buClr>
              <a:buSzPct val="65000"/>
            </a:pP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Use Ask an Expert from the Mekko Graphics ribbon or on our 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  <a:hlinkClick r:id="rId8"/>
              </a:rPr>
              <a:t>website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 if you’re struggling to find the right chart for your data</a:t>
            </a:r>
          </a:p>
          <a:p>
            <a:pPr marL="0" indent="0" eaLnBrk="1" hangingPunct="1">
              <a:buClr>
                <a:srgbClr val="760000"/>
              </a:buClr>
              <a:buSzPct val="65000"/>
              <a:buNone/>
            </a:pPr>
            <a:endParaRPr lang="en-US" altLang="en-US" sz="1400" dirty="0">
              <a:solidFill>
                <a:schemeClr val="tx1"/>
              </a:solidFill>
              <a:latin typeface="Gill Sans MT" panose="020B0502020104020203" pitchFamily="34" charset="0"/>
            </a:endParaRPr>
          </a:p>
          <a:p>
            <a:pPr marL="400050" lvl="1" indent="0" eaLnBrk="1" hangingPunct="1">
              <a:buClr>
                <a:srgbClr val="760000"/>
              </a:buClr>
              <a:buSzPct val="65000"/>
              <a:buNone/>
            </a:pPr>
            <a:endParaRPr lang="en-US" altLang="en-US" sz="1400" dirty="0">
              <a:solidFill>
                <a:schemeClr val="tx1"/>
              </a:solidFill>
              <a:latin typeface="Gill Sans MT" panose="020B0502020104020203" pitchFamily="34" charset="0"/>
            </a:endParaRPr>
          </a:p>
        </p:txBody>
      </p:sp>
      <p:sp>
        <p:nvSpPr>
          <p:cNvPr id="11" name="Text Box 4"/>
          <p:cNvSpPr txBox="1">
            <a:spLocks noChangeArrowheads="1"/>
          </p:cNvSpPr>
          <p:nvPr/>
        </p:nvSpPr>
        <p:spPr bwMode="auto">
          <a:xfrm>
            <a:off x="685800" y="3285458"/>
            <a:ext cx="2133598" cy="2763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•"/>
              <a:defRPr sz="2400">
                <a:solidFill>
                  <a:schemeClr val="tx2"/>
                </a:solidFill>
                <a:latin typeface="Century Gothic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Century Gothic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B5AE53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Century Gothic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48058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pPr marL="171450" indent="-171450" eaLnBrk="1" hangingPunct="1">
              <a:buClr>
                <a:srgbClr val="760000"/>
              </a:buClr>
              <a:buSzPct val="65000"/>
            </a:pP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Visit 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  <a:hlinkClick r:id="rId9"/>
              </a:rPr>
              <a:t>The Power of Mekko Charts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 or 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  <a:hlinkClick r:id="rId10"/>
              </a:rPr>
              <a:t>All About Cascade Charts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 to learn more about how to use these chart types in your next presentation</a:t>
            </a:r>
          </a:p>
          <a:p>
            <a:pPr marL="171450" indent="-171450" eaLnBrk="1" hangingPunct="1">
              <a:buClr>
                <a:srgbClr val="760000"/>
              </a:buClr>
              <a:buSzPct val="65000"/>
            </a:pP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Download our 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  <a:hlinkClick r:id="rId11"/>
              </a:rPr>
              <a:t>chart gallery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 for PowerPoint or Excel. Take these charts and modify them for your own use </a:t>
            </a:r>
          </a:p>
        </p:txBody>
      </p:sp>
    </p:spTree>
    <p:extLst>
      <p:ext uri="{BB962C8B-B14F-4D97-AF65-F5344CB8AC3E}">
        <p14:creationId xmlns:p14="http://schemas.microsoft.com/office/powerpoint/2010/main" val="23401169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FORMATS" val="&lt;MekkoFormats&gt;&lt;NumberFormat DecimalSeparator=&quot;.&quot; ThousandSeparator=&quot;,&quot; NegativeNumberFormat=&quot;1&quot; /&gt;&lt;Font&gt;&lt;Output_Font_Name Default=&quot;Verdana&quot; UsePPTTheme=&quot;True&quot; /&gt;&lt;/Font&gt;&lt;/MekkoFormats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JtXB7Xmfi3BZlo+AgV8FXfZuaAzuPxe3nxXKWaJ3vN+0tZlZZzC1PkyMpq+I5uiWfI3X/D0QLi10zKwpsaOUGqYB5+mCYUUQa6EBQZLCc20x3uePxfrZ9Wb8gnMjmkz+FQxpOV/xSEhv6/TXyilaQHYpEBBldjM8TfR9XPSQ7/snGIkDq5k8HKwACxq6kY8PzFg+fESD9AvPCnZYDT5tt2v7LAUa5NWnoA87puJluM/QbZRDoOcgefOb7OiLGYwamRTkPmn5cnhlq/cNkSxE7wJsHov2KujiZxmnKOPjv6HxQpb14T983JiQXbZln0DGxgarUp4AFYykMIXtUtsdv2XexQ8ejKOiFCpou/7mSnEI6vN+a36kbKHEE0IjgBsQqh4Ob2CBwi4FNv5EjE9a3MC8X6rCHh6cXR9r320CrUg2dbnN/5rSHXju6VJp0Rl1xJcAkzTmhcOCqgJubpL4yZGmyaqp0q6xWlnTkY637kGF+UENhhxeS/B30BZe1vlJz7JMfdSJ9aPeoA45GEA2hPJOTCImwacKOoK0thEK//KFjagRhffdW0EoIZW1V+jPUduszG0onkeiRRGkDoaEe49ilHqwneYHb30/1ecU4x773Avi1mrrQ7jARL3NvCLxWsu3dyTQVGkk5/FLPZ/YHImK0RcFPZ757H+ifoYp3UrsKiGf0LqhtgNVseh4U4yVwTKRa2bgW9IoZvMWMa5IAKO0leccCo+wpbqNMMPDal+1gKqYVsGYTRGv13oboN4Ml+5J5rH9YMWXMhEY2w0eH2hl5RAJmYIiRSsb2Bs1+xit9i9I5GoPgpGvVoLH7PdmRmdt0dOvU1T0emrVqlOMMZD3ovC3+czKXpqjshnouz8/aGZUdgRjiEGcqQshrrJKGLVViTZrKvunhS7EZWgu5TXWX+KzNTHYW02gKtwkM5Au9ZDUjRkDoHvS3oF5N8QuY7GRshXLEtGU/h5DHyip2L02l0/39p+pfQLXbPNul/TNDcX9wqYYPSSiLFw9J3f9XCmBlt61Kd22OcvDF95w7FxPRhsuajFaWEPsWlEELZugew0MGROuFiXE3VQJvTdxJ/+HA5CsBZ46Suaf2J8gSJH9YgXwvpUzQwYQb538ii1d0HLZMaLtg3gzdfSCCP2/pnN9O/Zm0f1azA3eMijHMp1VdXXGCmcZkr216cl042XrPG54gzhKjErFluSQEOonMa/op1aidEosjWH6wOO3S8YBy12T63rp2ioo3RwBSvQyhG5j8retQW1S5y4KVXqqJnnNN2x0xRb/68oEienH1W2xPBYx1LU56U+1/zUGDz4IWsKbpnUgjdef7+chwIF2xFOmgngZ9Mu9F4ItqiKpD3kRphFBIAFUV0kb8tAXyPD6MWXQQMIhbWcYUuGFhBUMF4ScgkjSiih6XIsrflpyO37j+si60E/Mm+aIZkf1+l32gWOZbNhiUR4BK4UXlPuwUNRM2b/DRg5gce8DqEwTT0uR1GQCO9ko8fJ2uthsiRNPsVNEYUI8qSus13onXQi3VjmmKvnwURvevpRFNcIZGd93008nJENl1vNRX6bisnyvXd3mVpUM1gRu9+iwOQkZlrY2HUrbWZhnkpki1hVF9bUqigImJktzO18gow5qcaSxovT5nmG40qDEme5eKiWVsH1UQY5nVZ/C+pM6f/wgdJJnooYkFRuD4xBHPTGep5+r0pb9pFuSW6kpks2I+zaXQbXVwYEV2fI+R8zF6W5mGImx30nVUYwVo4dXsZucCIzrs6aio9OSZis3Wdiwm1grAg69k6xLBEWogM3l7l3Jl2dBa5S35waHYdKQqXyaLD3Bp9NLYlcZGca/lbHmisC83EMyAhGBH2nLmLIBGlCtAM2Km6YBAzW7imQRxbTlv/V5O4hOxpAc6hpDqCLcHmfa4qjZdWJ9s8Wev+Zp6ACLkEw8TBaLrhnU7/ArUzOnOYyWqkZGkt9P0YaslixffyGs9bbh4JahnDvpneUoFkQBYJzDNRhQ8GP9IwVUTyqpM2E74nx1FLtSB61iD8JtQK7z9tAT8+JVLRRYc44/X+Ugt0PDl0q8tLdeFW9cxvNNs5PFJbmAKhcuLhxK2oM0aJS+TAMicAPreM16KE+IlLCEroXVBf2ut1ZJxWZ0GQ6hhvwHLEjLcxxA5dfiiPMyKjAYZFB6LuR/BxgZHdEIr5HeE87FcuF8FpvbZHDHAwqgCoiGo+B/FKD0Vg/3kwTr9ovUSCvg+ZamtPaU1lFur16B8xWjqIQHTRCpXaNCpkia1R/XClwBOSv5hyJ1MihvLyAyujP7W78bSB4+5iiMwrO1K+fWoO/gklWjCPKY0mVXSehGJEA7ARUqNh9o1nQWOksBBJovb0kb05t6LMRUIu8BhzOLf76I5LAM5TRHUvQAsEbLb4xppRQb9EmJH3O/Fyo2Hy6v5iIkIwIh8Pt7TqdiukAxYE5RVp4VqFrsbLa+WU3+KJrUmxL9ov0JIcovrCMYjrEErtpa0lg8hADmyXwewjBfd/q7iHxTUhzt8SlAGSBTv32ez6qohqgAlZV4xcEoOJa9pk24syGaUwpuNvbh0OlN6ANFhTI2SLdQXzj8n/ZbRqlCDYBIZ5xzdPNitCH1CzyOU7SdMyLhQeepcjUJkem4cJpyWUaF6Ilew9+ZIk0vILstCJdxOei2/iM03/1U+G+tpe6R6Su9pGMieO+MFJmcQY/JLz+b7AjAA1oGzToG1187MNLVEJMbByWLCnwln9kshX+XdGoqZpbS7tx95JhfBSIl7jTPSVoP8dNU0xrPSfmDh8t7v7TTFRQUb3Zie/ZeqiNZGjMS4ODsgQKiZBS7IlI/wDjyJKHKfaadvj4Ho3fYhMksdgF/ZT1WYhUydZCCqIwRbJMNYraT97bFBnL+YRBoXF6DCwiY3Fs+nvy9Lc3A4i4w2Ya4g57GZJwnmtrtYeFbKwqvT4XG0tRm0HRW/IbYAclTyztaa5bgK3F78xdW2iGH72wfuT7Lv6u59avznZAlgSOujreu/PqrKt2rO056/9mLtJ+vQ7TmIBkNCUjG5VfyP/1oOY2hAo8dG/l2BROGLMwXSTBlTveOUGDNHVLcmbPPhjNabvn7JEyjMBKtbz32tjEcQqOakQF28Sx+ixdANBKY4BaS10wXG1FLobJWkoSGhJsn/sXmXa3VGZ9QNQrnVYVbvHvjVbL3h0m4wOwLuvo+B14BcaEOhw6XEaTHk+GamGqCdiTshAhnuIYktmS0qpXySM92IYEIJVELmBujvemK3fijjPY2vVXWHsSmopJJnyz+GyjwSXPYsKrCNf0sxmIhcN3+WAeCqfRLuJL+7/NfofmMcnsJ1xsAt0D/RiOt0CCgxinODHPSHcwrwh+BAJtaXE7U9LQgQ+W0wK/UsC4yqqwatKUTvAscOGHRavHxCxdBPpcryKXHbPxJAtDZgrX8G7zsSt1FMQH3yK4Q7cXyzp7NRo9FmAb4u1zQlAKB+Un3xmmvIlF7pJlPBfWwMFJzxbiTLoEN1y2GtJaiPoqoagwDHk+nUWwrTBOCKrC1ZYl5++mpXMXih0PYz5qokl0Rp/B8Bt+vw2tFRkhUL8lfbfEkNQS1BkozaroLb8XhkZ2OhqYagu22lXqJyOKEKYmoFEgFLemd1Sby9+mvCR0L2sSlP97zDSyXrPr/DJxEK424peAuW3B5vVaRizn6VT6HSyKYcxSnGqjnbFT2o/x6jnnmYojUyb1zjjsVnNrhqAgkhdmBhtFL0++7z8d/Ps0/ctvstHrOZFVAOIvJVz+0mYXJ0fm+AufpmNDGpl2Mr9Vy/A3Ac2wY7+yuE8VDr6vn/n5dhTsbz8ND23+87YabM2ldUNbOEQjNgLYUW/3t7VmJnPaVGgalEstabO7h84P+pdPT85Lwocx4CYbx+8v9V0uLEP31J1R6ITfNFYvvcaYc5fjZ+L/rI84Px3Eu30hiZM/TEhLwUvFaAviEK6xipGkolyDBWugFYUclQh7WUfdOsmrXgNIPsYXJZ5lm9jasef7YJSbwvJKEFbp+IOZnIbW+sl7+z/ZIJXGfk77zsWAeVORNCInoDaVzcqsJkwZU6TRxMYobDc4OapK4zkig/5nosYbSCVBujrJL3n5xypHuNHQf1hFpHraYxObXi5cVL1hzGhuM1ZeeT1nxxaLV4b/eDNgdem3TdpePADwQaDA4OH3J0WKGWgjHYTp2vxp0c0DdyoowDzmxWyJwUtOYfZUpc7IPG1Hnde72r/n3JiUd0NinVbCuXVfQtEw+CNWaXCGZZSaM/Bd8tAktRMIAwKYOEpGbTfwBwmkylSaN0BLu60A4+dLb0MFHqWQg+2VzzBoT6GdVdzC026I4XfnVezGJgVmaSkgmW6UKokR/BzOnNSW51ajZclE3pc3Id6rdq44C3DSYUXRjxl9R6RTeVxniLHJGlF8YWffXjQ8DSHnoDgMnH00gYEZWjPlesNGTIH7VLxx1FGN9BxM2tm9kWZepdzJKIZl9Ix1V83/b7TOS2owZYzJ1DutlSoHZpImzkOX2pxLjnXe4n5Z7wl9HmwwPaJMaNi5jFGBB7uG/+TNckXelr9mZBDOYRZl4AAkLx9KCJh6It1P4XswERO0DSexANgwgwiJ1JpD8kolgaEsISQsakI7NPL5DbtZzlyCdGq5pzCdnGFgq/cD1PmBuyg4lU8/Hnm905vVpFS+9r6LKuT751NBflsMZykYFFJSCwUO6OPcACHCa9OK++HTSf0ZnDwxg5SmByghw6olSXrAhArNkZutp4Y7EbmXfIqXxbOgVAIkXHeWr4apM3+X2Gr8F6KaOT8U87TN07wmtpHOfp3nB4S5qo3SNNti8tcFQWjTXYl9iJTLBik0rv5p6Etna7X4H4OoGfCQi/kZWW8Ty7c4t37QwxvjntcOPd86zvqCgBQPpdXFT0ypKjJdf4C9x36rP0Akioydo3Fdq45uRPSHQ937o++ofZyAim6CMK//0S06b3oIGX386go46MlknpC9iQSWSerwc6xi78KndXvhDxyFbiswvyzYeZtljwdihgymVX9shHDBLGeKruDP7EE56cN7tnoOSycvs0OBbFNHm9L7tLgNiK6uuACCcamwwFgE0nhYaxtpEvTPHAYdvW/Yy1jMGLga60ZMFm7aFLkyz/besfeDuYk+2f+n8NHMCrwFf9ejmNFi8kpR3pTIjak6hxMkxvEasPvcWt+ZBUKpke1VYTE/lW1loBZBJmMsfIUPSDZRoPa9iRJAk8G/ZH/W1FvRWLreicOqHReIAVF90iQpUfxLKxXuH1hXJ7Z9rDuo60gHZw+ZUFmOehYASPQPersQtpzUlF5iZuDXEubco13OzI6ViS4L2rnJTpRmwBEWWuBILAF022gTeLrfBgiFnTuDy51CRSFvGpK6UCC4wQD0BFCqt2mbsW52+UdPwT/2E7jWxpHi1S4icWMWqAAVfzeoyL6P1eBgEAD45C3ED2eQ+B/jbPCQH5NUQppt1YENGCiE1Z3LwAMqI/OStwzgnESUijL2VZdwaqjWyIHCiLiMigu/wVfOqp+r260ME7F7XNmwaY+Td35nR7IqTLaTkA9IcYBqy47/xE896eobhtYeg1lD4fICdy56bgw7qhgiAeDWa0YeuwM8H6o5vZiaWgEA4ATc7ASh/g7inmFG3kVb22e+qgVCbPzQR0PlOudsunOvZHTFVgarQ5Uv/URxHH8CluyOcpSUlc5em/Dm3Lr7L8BQW1G6oU+xFK4c7NrG/GCJ4C2eqUk5dPlBgg0YvGq87IUl7U/psMpv+HPNNnhkX9tT1rQBWY8s+ZlBHmcvl3njVmBiElK/VXwa4nR9kvzXMp+X43RGsbxq/Q03uS6jt5uzvLx6vquR4nIZxYt7kuo0qvlgRN4SVvj+ChABp8NmkhmatJpAQGqqNlbTSve/ywOowp93DEDmUsUxPwiF15V3pTdsdsDCY+jy9zgU/CDZmC3a6OA+S89wMEC2lllhz7DjYzJhGX4CxfIqtMGHSgPoOW9ZFUgTyu65dWgs5JSW/4h3YoY9dARrkUw9qCMQWPMOA9mey+3FZPYiSmgcoRskAaCX6WS2J0/jx8OJLTinK5ntkiNuPy6mwNWodbm8NH0V1ry8/Dc3NEjzcqDPVn39Sa/Y6Jy/ockWl1XoTw2rB6688SqOoUPNtVJsT40UYY3O4+FQd6grVuG/3EKS29p33vw3pc2f1pu0V6oe2UhE1LZgX4mSMEQKcjs7qiZIlFWU6TeIBVgOtWYQ4Sl9Kp5JsbLvwRoRa5xQ1A0HiXRbHc3+3nbIN7G5JxvTAQaMhQ483iXzESXoGMbdayX1ESkrc8RtYC9TUkUe/Z3gSHZWLEdLQLcVf8Ue62OyRpzIBHpRPgNaNd3RRcJjhax3725ZF3H6PYTLl+rgcmU5iNp1f1VAjtYdasD5QNb4pY0DlfWEt1NmOMQHmNpYVRlr5ROc0SrrEUaJiSp5iZb1b7J3XvDuwJP4vp+pv/Nxi+ohvdXJqEIjr6rnah380g4Ipp9BRpO/Ego7Sxcu/k8PrgW0PdxUk8hXahRXLotxHChJSGBbWJY4W8gkrEFlfnAQxm4Toi6Z9OJ8ClrBj6nNTFHZZKI6EEd9HE62bKgBQ1/Iy/TtEOuovLtxrSbSwaUqnmC8jql+KI0GjQ+cvaflHUM1wPSEZm/tR4uwuaLwF68NGxNV4GYnwJOnwBUgFGvEvaQBU0Zf6kCYOcLIAcVqzrAPYgPe24MUduB+4lfEhsUORMfyhk4yeZt90hwNBXTtxQcnXJ5hvuFuY4nlziLjHJH0dLOa0zm5xv/Pfmw3l43shyaSd04VwyNZbiOIEaf2m4F4k1BAXcOyGUfhK5p0z1StLlJleo85kuqUSicD/hQcURNFn6ulXsajX98NqdcIAjT9ZXSytGdrDm8lA8wGMnajq2qa/7fKRZ4sVWsrWavcGWGwEFKaoyppfoDNYiPz3Svq08BDutZZ0NpZ6wYX+mFuP3epdKqq403oEgUxPE+7msUAv33bAOnDvLtX1J6nczM8fQi1vG6fiQ8GvAvD/ke5i+Tqlp4NaVuo79C7kdO2q3Ias2IEspY7OIsy0JjlXgdm+oXQtZ4ZNwQH5snumWz6pRHkorSaAKmq4lD4SpsJJAHrVhbNfjX8mQkHnE57nQQjLuGvixa0tAdUmW2/m5mF1R251hR6UWSUQH7BlZmUaxb9tzLkfSHNj/PAWC+1IPMDZne0nIk0QtXLkejAnQj42wM/qpzYWmMOMUh6uOcSrGVFCUEVV0+wV2FEZsDrnD8EDXHWWA/WqdrOXD4mO+B9hV4+cQe/30TEj4rPks2/tnCkOkXq+Lnn9XiQ7ze7+wbUf/kOz57UT3H51hnCFsQtQoJwAanJBtlAnEDqQYhCoNDWDEzsGjaZztS4K8dhPwG2tAJBDvdEvKJBFSoWWMHAXRPV/yaY45L+LzQpZ+GW2MllJkLlco/gRXMtBRK2wSRRGdxmUGleJGx8QHZZGKoRdNgZXCilOoy1cHFXNrqzwUkK2W+F+0iBQpexobLrSo32l0yhgOscl2o0vW9LSFI/kjYn45KWzfJ/TsSPqyX6So9OoGZjZ/golrzmDOykRJB1cUNr8Pouk97OB+AE0MRAkFoUP5TOEqIJ/bbvyJsJfRf++hX33jPITB2MMGYB8RYzYCQ4KGh/NVwLM3yGMAd+y5gtq+doQRmL8Bh6S+4Pn4h3cF6m122m+YDvH53oPEhxIC9yo9pS1O3gP9gwEW07nMRCa7ix9JL3R17R/G5yfiLjJqHBy0ZaPCNd4Q0WYOwpwEFQbq3mHnmq+vE+xkwp0sCLWIPKcr33eo2enoP8cqzkZD/r84Utbk3qevg43mSC21BTozkfqj7qfFi8Yq1uytIiwRecsgLUN4ES5tY50Cb66dE76AVeNsbiIwnbrU+v9UgWBSMKUKTQ0WfZbuwyqcooh4JbgYFda5PP9gXQuFRl6qCOQWKWEG8mRA73K1NHpIG18atvKy5V/zWUorqBTVLCnTUMXl9/+asIAkHGdqPRkwnGKgvSwzsmzQC3qxc3OfHoPLBurlGoGwqsaSAF0eRtleuYdmMgyjnXZGGp8oUMQ4738Agl82iOg1Em56r4C6ibJIN21TYpo0+i1J19xLZuN0WI5qs00SAieB6iVrcfugO+X0CoCN6qBZTDAIZoReP4ikR31/dFP5vQ6sQ55xB53JrxKeHelrHpiJENucnfI0vytKZ7GbGXQWN+VEwVvahRfbnEnVJkE8lcM2H00korfZ8aZUSlPFNS8E8GXkJAswHV1gVhf0+CVwRkgaxNJpSUY+Gsiai7Uc+X6geQnlDi12e7C5Zca4gGj0luLTSpbxDvaCpk9RR43z1IGub93e6s0KsXIum/6Nrmd9zeC/aIA6zQrR6JT6oN7pm5KN6CamAuUg5o81WjLUm0BXbOa659f4+yVWGJCLO2gg6QwQ0gduMsy5bD/HAA1kh9+E3QQAbEGovg7xBbD0qDI+eNR5IcAzEHppk84QviNWy06nYFvc6j0YjtxCBdUMv45cpCGAY3ltacQBRmzF2NyAA6zhJw0pTojsAiI69ITYDbMSGXt2AyYqGXN0ffLrdszUx57p1jgDze7eRyoK2ZjzlDeIpZLmG7mtl1BGqfKHTXMgAr0GvaU5ILOJXrK7aBvLZU4YBVG6OzlroBfPFwLF57gFEq/DEBFHr7xImqMyJ6c0D7IiW+ru2Od17HvGiD2C+oBlx4kn00kpVdgDFOjKyEIsJITPZa9UAuFFgE237X8nFbJavpx/+g8clqtP9g6QeOxySZ6WUYT7FVnbjs8kzpBwvcVvX9pxxhsLuCDsXhrZg9stn8nLLUYNvtwD/agbZb5ofb2dzBMiydUBA43WnnbERbLnUTlNl77ooyoMyqxV0qtbVRgvt3YSwRJk99TwBt8bBTJyx0P6FvgwiIcNFFLtGDy4Veg5e7AWcuVtbaSbpwCQrnRis20Xwjzt+W9InpzjehXyUHk8Jukqrd6ENdWEcTik9rO9mdfuJVcATGqQFa0ewE0FO++3KdQ28IB6EmD4mWKIjO7dgWVN2UswxgKDS7EHx2HuQWBL9Acyf2LZuRpESLNdWFqXcyKjJN7WxiLcjxfwF06Hdrk1ZXemWn4yWfgdMR4K6lm7it3gZw4t5VwC3F3z74BVjN10UKVW0Vw95RpgFW5Wr46c5UMj5AGMx23Kapu2j4kQlE9YY5FQ60yVVkZZG4IG+Hxwgf7FE4qNEowfOFuSFPBEJlataGGXHsnIPscdqUvMfANMlelEe1AjE0T2Id9tuyc51Mz+BGPTlyKnJz9sAfVMm6ksiKb8XS5BsKr9RI/aiOkwysMDfs6qW1L3UHfhzKMbP8J/OInUt3bIMe5fpM3GhtlasAD2npfVaFvhaYKi+eQhu/+zEPP4+6tZYuGxEBY0wN/wrYx9y+v8EYm9I/JiTkMb3HSmoFc+B2dhaEyo00oRaK47xj2pUVW/3U23UlBilyjg4AOrK7OxNyCZkrFOKt8ovi258NLEKsZYKTLUxwUHbywOVJiJ8TdgaX+sJsCn92aACjAOpR+Cbw8LKpC36IHEpou1zfPV0TYnea8WpyG05rJNSnoeet8jc8uef7I3XgUc/cawNfCMB6EvoFoJBVNWOsL2drumT2MyJvIqZcVMbDpPFJSDlQmkR0hIonY8hqw3FcOe6Xiz/caEkRDIMWFpaT/1Qr3TywuGyo2icBYOrXuGX7G0q4THMe3Mk4zEpCV97J4G4yfI+xL+4RxBQzCymu2oWJZPvMsz5BQnvwjaTjNtfNdbrtM5+gElgIpg16WXANyyfi58yo/nuwBeLioiy+Abic66rEz5+yt9Ul/URFitajNkLk90IbD3fwILn+/Zs54R0ri9YLO1IVJifguZ1UzHu38hxZdDnTbB4esE9ua0giKzeleg9q1gO2TSF7mCdZNQ+vknGsjAe7WXbbayd4ELGJ6p6ev1PYVq1PYY90Cbc4s/xnQmd+Xcvyt9rWPY3o6YbWXPS297y2RRcZiTTpBsQfL0uqGmpEeSNnL16ipxOaHJv42l75+UGLyxzEqliFBLLv7Ss+8QIHkeUbdKSSZ9XcI0q/1mgAq/acS4vj/20utuhD/064D1lOycz5e5eBSJtLsTbr/dtekYg6NTPxfch0hJuuJVkdw4GPYnzThyoVuWeVuuAVOKn2CJC3A7ndx0ZCfyR4k/XkM/wOHxgl5LCceFBqbAVkQXU6/PxyvAkubugs7wKsjGvzdKjDEsL0MGaAWawXmLywo4aBEc8Zcm+9U2KxlWz3uqf6Wf8RQttwZs2hG39ooHmHo+XJvtLLkylRjNCd25GDjZBdi2yj/edIZiKXPgQWs1XToOiab5f+J9J8RCBuTeea7Rci05Vb8/paqtqDA5VArCdHDAXiaSfBv4w4Vx9z0gOP29EwkS2NIkf0PPgtAeb+gEoYt6fQsSO7LFRrmXLDVwMLpArM6449PiH7S7kQN/U1gClWsKawBgPmQp+qA6k79pXa4Rb/6b//gQ5dPRkoG/8d3QHMs4iDdJxp857riCkFkLh2MvHG+xNSgyBygPgu7H1TuzhsS3jCrRbB/6Qckowu/gihWinRm+CwG4IRK9fXAXXbihYsky7iBJU+LVo6EJLsg2YJb3XVmM9KJKkV+cMbgmEZOILAsezi+dJTgT7xWQ9sD+4pgtn84hqFT5tIpeWge4XvttACK10uiEodgMpAzPRquhLg9eFSqcqzUT4hBA0E3Xej1NAboLzy4UQtKn3D3go/ndjzA7ORGF9kAXSGqK1gHPwa6sqo6Iijv7J3aZSND4mzoVJ2SnGRh4JtDvFmqIzrUiPs3wkVypDmh7aD6VGF/QmSVngi0+inWIa4uyyO8hlTpsd0l4226LQzeYJsFrqZgA/umiB0iggKTj8lPFPsuw0O1Qt9OYss/1ifvrEgHtFny2FKXRrJ3q0UbCY8hJyDT7/R1UKfDnKpHTFYwe1MAe3hlNsfL+epKQ4J2/nHz6GTR2W7JQjHsjnEvNDezYyplIo6V6S3hyPkxeixSGxnTgMKlQYH9/IVrWj8+iZOXUICwspuakEFruJNKCn70ePcmkr2PKo+lOV/jGlYlriAvHQkunUY6E0oJPGMd/x1lE4g3+4GC+GwB62Y+BznxAdX4Eb22nFNnhpl3DXIhc7n1LNTE7yH218Y5qOQPIP2M2B7D76vkynBevPSXXQ/htTUKtWHjiHe0DAbN2l2kBvLk8a/Sywd6ry/sHS2npfzBTHFKk+ivD6eJSngMvI1R04bSHFiEuvNpk569KJurSjTw4lpghbWwpgy7cuw6FDE23gkvKg64o8bUNzv6oLUpjx79uAp46TPJpsmyn0nf/EzuamyiAs+oy7Q+VUJvKLzDI4bY4fPD+BpSKYg8H+r+0v+y+kTqwFIqg6GtD6gVcq0JUTrPp47zlzH7jRA5Y/kZEuaMuc4M6o9i8bYfG929+nZoxWDFVLDK9H4dgF/kknMPuh0DNVv7IW9C0j20ifspNlVykMDxGXaqGwxpaPcSGfJdqXhN1M9SMCNseVYzb0DKTQOTwHCllDHfzG1zIXiXpIe0TNopRjz0YRGebYFzNtM46kTMbf6sE7gDULmX3xVBvpMb+6CRA/UaU0yeQPDglz4KGEflp0OP42mCtbNY+ifsLUJxZ+w4t9iTXmjzcoIxXg7sXZpRWKug9DaMLlyyV83wK2Eb/CdRQPKtZBbratCmcbensMWH7AWwVtMYLJBuwCVmVyqN1A96seFDxZEvrGvVugOvhzrlQWj+SF3UPdnZ6K7buJ9c3aWGYZhD0U7usbrC0BZNfeS1be/tGZoRADGk7JG+ytBkUmg4pbfDod9mbq0wXdrqbM4/NzjIlYeJ6i+gS1rw8kcSyyuWhwmLJ4Wt7ReQR43qx7czF/Ak3eWd3XuFKrsf3Z2KskMOJOXj9o/ygzlT2pBE2Q8hfRqGvQYbrw6bUQKgWpBE1z6vm00wut22dOvEAz+AvXyR9VZQXSGkHMXok42Po4YNLe3COxDkZy/71qLu8ESXvQx3n3qfAUyH8hPkXXEd3aC9aezJVV52RifdpP2KEd+n88Cb/7g5ggcgofpn4aNup5hZ8YNW3gyHDat+4AbN++y+UMAJxlMVGgKKGGqN0zvjOcwtHf822sArSIg1Bys5OQi1lO5Vlu4qcOy/LEgfrTrBQDqaFKa4D/mz6NJHRQT+cv4dS8nVVmgJrmCYbEGrARje/b96w/dGMz6sAYjb1lnxA3/0Ys4y7tdvp9eTljva0g1h+ETcfOdT2na9UfqGHNYIufexJ91iWWNnPVr+RZnYXd9CtKjd0rxXHcp/aurdWA4fYAFu/a6t+yhpb5l6oHSBD9FYAIal6853W4ARBLDZEXKs5fK9NiHYVAUYJq6oKY2RTTOCitzbDB4jnLfZVK3TbHrnMoanw7KsvrmgUDoRo0NWIALvaOA/BhkZkMbaJJLuEjqTT9uf9N4RmgZuQxmKHb+/+coyXoxzUuJZIka0lsjpMoQua5Sn38H2Z6AWKv5n12cc01H13Rvz1Ud82qhpXAuA0xc4QmJ4i1chCmSjhL7p603xyvCTEAL71JVasDf3Peo44sItd/mEySAKjwC6chRBIX37STibG3V8Yim8FkkjCvepSvdl2MwCFxmbxgU5D8ofjP01itGCqNfgAScN2P404pxnPpc4uIwbRFxoPnQGa0fpPZFnzmSAg1INep2teA2gmbQM8Fse18I5VrR/fb57svseGG6NUIbH51jGohZVU3vqjUSlsVwbwVDVRk+kcTrSXlq7CEhzZ93ty07LCpkfPcDr/rqNHPDuQRpeiNy1YOLrYiBQPooUzFwJiHvmQ3vrWQTDFxvPmia3/w0Vp7dVpQolGApzm407VwjMWzmOxI8fTko7GtdsinMhx7GGGyILTygpc8nhwLwJjpkYijg87W4g51NVTFNXnA3qiJfOpmnSfXH6Yw57DhEzKUNi/jyQtX4Ar5cY2L7qBz0EKN+UZ/LqI7ImCedRqYjOiFrCtRHlyt1xECp9fAqTdCvUoNjE4fQQqLOdNq7FJcprhi9rp7Lrc2Iwojjm5LJFCHNl0/mdsRfQMvTanWshgH2wuEJ3EsVusuQZ8CXByTBo/r4Tjd5XGjnsxRYAv9g8XZgDXTE/nInIhVucOVHnSp6h+1r+5Vrb/XAXACP8W0jFvQEmSS7XF+j8hPj8xbLyUSwdcCvCArTcq8/7i1NFCsTXGwAeWA9lnlluFRtuCs62gCyRbQWDVDPg0tJCQESLVd7ydx1nUTXoqkag1dZIFz7PcDqCp4flkC5aF1C1YgCSAMz8bZE/mpIpB0XkEXg7Uj+UxAgPZ77JVgmvzM8jVIovTRYMtjEgQVjSc/p1rrJ/Oo3SeEdej5nV6NXTJiEDfjEEq3qKuhK8Sy927i1G55gHqCcaGoeuR47wcRaJcEgE+asXs33Y/w1Z8PSIGlQaCR0435RxjVP+o64J6XzQeNETpKqTcx2rAQgQFgTpl2dHiPT3CtEq739yAOc9+lKSV8OCAsuqofnm0v+6dsTzc/oi5uAyjJCWgseu0UXtUezySfx/vFCJK+Adbbe02/1lWyW/U2FALwrecJTuhb9/eKU6vL8rAzrLDwKtH/B7ee8V+eROgBzxMaw6RPvaVnn8gU3HCMcSxq6FV7JTqcwLVYKjV3F+nQqb4jC7l0SgZgHIvZUQk0hrdb+tBD222nzg2r8SNyICyxo9Cy47GLiAGgMMjljDf4xyK2m/Cm38t2eJJ4H4HN8twy520/j+KHeoM1RFGgBRxgodJ0bvMfIAAFEQ78kIBnFpiVP7/p0P7hp21UUYw+yCVbRM7wjbyiUoSuJRaTVqzi5/ybHdnhn8eH3VPMjWPM67ZB7+U1Hw9HcDXv3fxu3M2hAGss3d+d108YlydYBfKTK0Mdh8LA6V6D7U1RE/W2zNuBwEHK5xWMXAzjvMPDTY/3I7vVja5gHHUAr/x+yBvzkHexiUUjUxwnEjVqilwmMH1rs66f92VDRrfu33E7Pure7WGOFBfY7XOu1Ozf7p+9DlSEqyFaKwHhV4AaYVPjehWSZoJgHyqkk7LUIeOHiG0MBidiYPy1BoJo4ad6xMFTioDYDHuO/+REm/7FeIfSiF8U6lERZ3yZVw1tUK1kzPofAY3Z1ay4P+tYaSSnaPZlynsUmKbVY1XZXMq7rTzKp/bUjZyEfyaZ+lC4jKkZsTJ31QhWxq/M6X0GjI0nZleuGRbemunue0U06edfrpD1bmTYAwGXiopKTUqY+1zUPQKXEomyMv9VUgto2900mQ6/4uZrdmEECpBVqNWgmC2iR8FiPPnb8P7+8NtVJXNkl6KNtdiije5sGgRRgCIzZDWtzz8E1Zt8465X88aOpLagVl+JMCLS6klvJn7MDEKqyHL/V8Buz8r4Zs2nBrKLdaVAXRW1o9RiDc8NpV6+pW8V8xj4BOZrv37Zzkw+4KYvt9HoQSh3dijjomQn4NFuOLytpUZ8MLtMbvD5DZHhpSnajtU9sHVSVV0zEy78wTCV4/NJNvdT0gUSHoHDXqfGiuL8OZ/kE8Rnkm2/ih3yfpB4L1xVrz9eGDOMaAYDs8TauT+w21z8SNW0ywJ/fW/ToUs9rR3letwGov7MN3y1CzJ+YFyNnyCEX8KpXcD3YbHULigw6+XFoHndM0SHTCvxkaToTaksHOR5u9eUGu2Do+8+7oc1h4Jz1i4H/9FL1GcrgMvaPVdUpuU/Ig2129OG6MTPuhn4jGlx6vMxT81hnLLkI94Sd6wWGgoJAahdCtsk/PYSQAU+hofEeiRPOgIZAm+INoXlMvT5KM3hSaRa0RGEwHg/AXUJKGIGizS9jgBwKMz+x7xAJbCe9bmrUP+EIFS80JQym06PK8V2QYJKWFcg3Ac9yVTgfKt9jm+DaicqlEzW5bHxA8my3gFaSddHdnBI847KdZ8WMKrC6EElgxM2FB5Yc0nqaU6S1ED4Yg2v/tzWbwKvp53iNeJtn0YnNhnue8/6TtOX2WaTxicThbVV0TRNOMoI45DGbsbrIbYzlvihFT5zyGZ9FPjyjWtnL8GdTPrDHhZB52u6gNyMua7fwCxtBt0sWI9JEYXacZyoiLZdJsmvwjQt+J/M+WmM23VMXytOAWkYDAtQ6IX8EnT7qb5mxYCzon3tjXL/JtxguFMAoIJ5jBWufy2VQkIcaExSEVfbWbuj/V91iW+LtUuGQeFqnTYpOv6XjByztEBoTRqtfa8LJeYUDcOMPz/zvpy0peY8ebSzge2IbdU34hfNtSdZV5qDb4QVQDrmxd+pZltDB48dd/XQ8d54mezZhy+Z+lRrzpbIYbfuM/YJiipfxgNUzIAyoLLV/41BLQBJ40omOiH8xSLgQFRZ2fr9BU6TNDdYdNFNFn/dm3MbmotCY9KOopcaCq9wQi4eTBIoppwiaktscfb9iCa8TfO0bJny/Rfb7b9IrvPIY9bEkpgVastHDWpsepJJsw5KGGbVki0X30E2wLLQInJ01E055QyFanQ1l9bYcYQxUlWJjxvE3TYfSeoA3y5KNIfzVcYCg7OlhVZecwXMwiHz9tACtQO9ieYZC5SSL0aewe2jjbrZ2ZiQ4jzjghr4IFshn3L2AhSbwZ+FC6Tx2gAKvFQs9K5d7mWa3wAZfv1rnD5lIYv0fPF4JDLN4gdgjzDU6JMUZAJvmLHdwTu9rcDjn/hbQc5ChRwh2gQtq+S/FRZxUGi4EHY7v0roCnxEZ176lQeVFLWwkuereOKE8r2YyBfyWWdcocAjoje/myTBlxXNsc3rL1d1TZyvr4a4yaET92ATVGJvgO97U3h93CLBGvMeU9CuBnBfQynWm2q69e5WGe2ql7+6Zt7AU8AiMfT6ZhRmylt1cHwlsCnxAyiREf5XaY4VX9U1z3yLbRL4yeSFS3GAJDl8nJaVMG2hfYqQdbNAPUawTAfsVW53CP2uucxhEpr8GG0An3HWk3Oxt/0B9qrYv4fpaJA1A59Vl8XQloBUcFDSp7QKq59UWfJcxkFbQtiBMrCu2JP7hAlOQ0apmPdU23F2hc+QEjqX1+4/NOxqSkZHITSm6KMCdC1xqSITL2qMA8VjF1cYM56C92E9KRJ5okeI45rH/pBpM4qji0GD/2DutvTEtkKD42OcMbUPpKtVzh7ur25Co8Hsg5O+i1A3GfgIZjsBHNstZkL/3fB5yQrgcZn4+lenJFLqpQsQyCtV8FtzGYfb0IhEkTsPpDdGWhI8ZJRC08yvCZ3EHVCJjiQ9pNnDiM4FUCb7YRaeYpgkoKUoQzE1uFbfy9qxxyUtrTd+9YCUh9bYkIoUAcR93Dl8peqW8OVEfVmDONZ+bvJu3iS5WG0Jv5k1Rie/0XNKkEjW+q60nOu2qBBYwkkh0UMRtWZCwwR1j8WTHLaUCeDRZyPWzfDcG+9Jgghpz6lNA6LNcxALOxwjM9L6RpmC9dzULxo/IoWElyLG/sJrRKkUGW1Uc4CkGS/NCNRu50HMAes4e4KEcD24XbXwEiJ5ahQsKMJytpE+BBwPSrbU54YR04wg3Vb0Ha4xHXLulKqCWpU1IpUDaEqrUzbDZG+LiOTf1hs9DjXACoXyms0I7VtXXbwfEgI4hFXDwcuR1pN4a46kE5FIA6zPSX4uEiprnxuXxNd7fH/OTjqmqyJwKeCPJd9FkEzCu15gL05uMH47uPajaIXOqR9OXLd6mPgncpEpYRZcVtwXBOEnUrQdqFrpXjjzQ8lcxGrL+AAUxy/2Yvew/XLX1qgCmJpGJRhliPm9bfQPuW0+rbamUfaYWeYoxFDg9UK2Nhtggc/h4qHUlF9MkLJyXa9Rz4RQ9JaErk4OUj8Zv/MN7GRoXkb+NtgK2ZnhfmNss0DzTOFflmXGbkPU7QdujoLivpjkZfwzLW4o22vQP+iieFv0Pr60iFOdGS+r4CcGgDv9RpaoCcWtUGav66I9/cNrqdafRiu0RN8ZWxELbD6TFjkoNztjK4MgQYUM6lYFyIH4lMNw3w9oMM5e2jIT5lx952ZvKUPN2ItebpJy34cRuVdjjRqtAsY6xsGZnz6MPWBTwZ7ix5m2G4PgxK4pPI+LCUhKV7CYickLjwoMEhlc/gVKklRZ0/lsLPuYytp/ZLYxaUapINdlOEn6wToXv+Me4DnKbP2uUf5m23u+mvikF5+2jYQ2NY6x35irpJHjoLj0CvXWkLAQGJ4ya/A90XzTw2/2fjaxNnyaZx2YEBEOcG+o0t2YmPbAKY9DZv1cFw/hyBF2AXRgCSeUTcBIaNGDkSq53MWbNREucOkr2BWK9UK7TGa9CpW0EGoACp4Vb0Bw6JmI/oAjWl2ukWRqGedBtH5rvUKvyQU+n8fa3Vvj7htGvZ8JxjYu5uOsuYk3EzN7QtNL127AJ6C9dsC5/F7IkOGNAKA0y4Lp7IGvw4bDnV+U05CSQDJ2VZMmcIWxIF3rhUVJYIdDkQe8kJgQU+eJM5ffPRMOLXpjbO8Lfa67mrRNkid+YZkdOq1Kzy6XArT1ruSOe5uEp8/cq6BNyc22l0lM3iS7BVZbBx+JvWr+633N2oh72U79mwnkrXDOQqXKmxbsJMvT2L2lYhq4KY9ZJQ/8AEJw2sUe3qvrLLWAWsrcHzACgXYaSgTB6V6HWuveNZrlNAQ9lvEVq8h6RAkqqJvDMn4bCrHaoVPKaoBu2uuytO6hmP+9S6Ozpu88c2NFe3ELeLn/eoTo0AUeSf3emnhqSfllPj+N4OPy4MOHmUy73qRwcsdj/2/Szegj/PedqF5T/XHfCqnjpiN7Rx6VNvhSP5mGSfOJY3YgwUFX3aYkQrIundIdudAM5vkEvx9f43JE8hoSHgklToJiZc7oIARfELX4IugjV8v/LZ3ibDqDY1AmQW6hdQ6odjf5qUjuMSEtmnFHwMq7rMsYgOSR6gpNAxOuTJiqXk+8cR6VG5bcnvOCYMebKYtgU0Od8k5d+SAntYTguqFlq6fsXJwwd4SxbbswJ3L/h2DTn1KfTQISr9g64t5n+I2RZCRnNYOYKXVUUf2OCf6+IHKSjEd4S3s62pMsAZW1t5RQjwAcO4uGGIwWyLLiUejprvs4aB/L41AoI75M9P4Xgo1VIxEoyEgByIVaiFsLKwpKOOulii4DJGRjauonxUZyBtnEkUMKO1dMy7/ZeYTLbXrgeaaoFLSYZKW9mXkH4NfdHoAvdQSzgYzf4J+3KJf26lr8WjPMBaeRbDJbgQf6Om/26rbcr1zW/01L47bAEfzX04w8Bt+sCsML+RbM9qtaOS4ouBmI4Q3hq/gZcE82yu8wIr+gzStKtpQUw937OoW/tD8lJUX/XGizboQpu6AQKEjV14JT/7pBLP8/bkV2Tp4E40pZdZg6tsQw6tGfPnwWeemuFfAsH1xV0JOf0n4ePyNSrYwFHVBM9gQhKxUVP8wo/bd7IPysISWC19SPdQGf/FzyvsJHpST7hvy/ZrhTOCgMz2+z95tBOdhT49u02h1qw3IllgiOdDlTdcrYnlfNzg8/pi+5X9Xyu1tgnYJJ2StYIWOMmQvmkEfxe+Tqrr3mcfZrsmCsIgxJNb9M0OffzX54E84sWUg5kdCCVq1Nn7dYqEqR8ReGGy/t8Ok3CJXaAEOpc5H4v3PySDuGK1qohkL+Z6NGaiBu/MnI1sSsFqIaCXEJx4053VqQBjcUTkQyQBmSq4l7JPX9tTT9mOURkUvy0EqGbIEJ/s5h6tLf5cH15Zt+TIXHJZ2sMV6nyL0CtgFLKVWUzWyaoJOhI/PefQQXtQEJ5gMDoSSBfun9iPoH5OwW1MDXB+srqCbnCy63S/cyJblwlxe+v2d917LdGU/8NZRaUF4xSQ5wlGcyeTgXen9MWBk1GETmk4Z/VfzH2yzolNvQzT1YQIkJb/elf2DlbdLIa1Kx67thoiRRBCDKJXQwJ/CnFdxLSFjzBiVVjkT2Dargc//LtSpAFf9/amO33ZrN2K9FEtJ7fTM9T11txXI26NAMFjLugXEoaN3TK5lmTQfc646RxsA+3DPLE8e3Wm26YSuOwaFnwLEjvf1w6EJkbfnzWxoLkWMlqMFQB9Zmg4joiOjKBRGeUkxQSxbaZnPFgnxWo3PzJIYOqlM4dABvqgYaS2i98vBYAC3W2nhpQZUWWSfWwRrIgJzmhkU6M4H9+d6WPB8xEUkYHn7BAAveFqWfH+JUolp4DTYodoomSEb1vj3OihMB2qFPc+DqCxmmW+xrS9QS5ZBbbSWmC7T+uUeujoSWdmBrza4OuzFBe1sOX/hhquarMvBUOraUK3PGqX2ZFYj2Bgi0qM+qaLfyLK6IuZt/bzXFawRCUaTLQu9PFAgLpp7h6zQqNYLzqB6IpmKY7MMcrIQcd642XLNK5G8RCA3hoOKKuF8tvfl52LmYEgKGqxYMAxwspD6XEWHCXGgX6oEAdI8LWwgepUa+2t+W/IBkj31rZwg9TAdD1yN5eHrIeUGdxtRzUQovrzedRoc8YpL7/uJYiuWrNPrCACcREzkLw2IvmCsUGaY9sECbZmnisEm98XiZzn6mmj8ZF/DVkrnw109PzuoXcFAquJJQAlCIuNcICHB7P5Mxf8jxjWEThiT4vqbu2Y0dofUJj0tGDILsFHYD7RemHXafwiU2TCqFRuOmEx5IixvGWXiqIhLlSSoOVPBqvcH9AU0swh8yYyW0YCXqeQLX9W/WSRubfaoJfeE6vDrkj2XKNIGTI4toCrJ9ttnFaxr9rRSUhWFmpFbXGE7qAqjD1sxbPYrh/iz0svvCSOnE42q4eUSyj/w817Xix8zzdNRSGn+hCpM/2cTz7t8KLz65dV9HnrUP/ncIwDuRlsRIxaZLsBoR6H+sdBg90Jcr3HycyoqEhynGsBn8dasswO5zCAWOEV5bJbplUjW+o5f73MCqHNhElhf1HZ2OzZL+qx+VdmXZcAGeJQbMBtjt4EGNfNKPqCNDq0cLF8tnY+5HhMkjBtkm8R2bWMfEaYZXLRgtQ9+tKyjhHJoed2wk0IsedMeNeU3hFrbHV0ic3JybsQxmKxV3s65CjI5tKcbpLhr1d9PTVVd05N2DUIxi/ELuV9kThBb4VXXN26VBzO1Ej8myDHgMB8FBdpKOfAyAAML8DNVyNnbSb3V10VzfkUmpmWdK3avfUTqF/3krdIDUEwZFu1pN7pg6l/114AYwMIKp747OIQy4y9G1L9ovOFabT+zIBbjyuyz3b2/goIEcl0JrytM5F1YLzzM2F59BLSB2B73hOtBpb2pJV/iPiZy0nyOharPF19QXz7A3J9GzCAVKZd4XbOcdez1cGJ81nbtndX2vXE7bVfJJbQs1ZroozuHUlI+mZVbas+DIGyzmrUFT9SQO89Ueo6F9Ai/5PIo3j0ArGP+RJb4p/JMf4OayNHGaudjSXvtvglZEduUnly/XxkecNnbOBauds0PC+5Ke92YY4W8ZaGLIt/PA4lqcdqon31llNZYZNYSpkwGasjjJktjjUjOsWaX4dvm1nFBs/a9hB5F5Fp1dwuY2BpKOqQE69/xJO4FZq+7lYMpf/+Dr26hoPaUqBccijmo27blINZ0ZBrv66wyIF0C3gx/6nHwlgkwwJiAsLs0WDWohLR/U8I/q0HpLTSuQIr6oYz2QnvBNNwbB5b1HoJCCTwItQy505+q5hMTa+kKiA6INlm5xt2Jlgha1XKLXfEjTrapXk4vd6l/CY1E2MeqBNW5sn2w7TMpCYtIbpwFe8006p/Om3uKsu3MdVuADxz6TAiFTU5dz6QcjUylI2PxphWsLskbLLfMnos9XngG8I6fDmaHSUU3vZNhgO/XbB7UrpAZsPW0HT+tD8nAw5PLQ0mFO7FOF9JKL1CF9sUKLkyt/JhXGWpnwYj2IQEBYml1ZXL2/QSVwjSTVfBzOZ8quG7nvsel71bAQEk+QzVvt0wD5deXk1bbrW615us7N9/HQVNG3hnvAHR8Svt5YSyhAYeNjcrGpk9sovzWyRZ8rXD4rW0KeuWGzb860UKUqigHEekiiCDVWlLzCZ+BMBY9V3GyDQfTHAFkVJUohaPgehifq4KFHgeLRWLISzRdr2E/BlPVd4gOvK9ljl0x0/lBfYuU0L9/q5myGaQ/YUtFkLpfYwkb4yGp3ckRpEcbtPD5yt/BXLtKs4lVVkXLyEXxFxZwTQBpJEx8WxDhPYh0/e/boK3R/hHuzEAStFbuKSA1AT0hbUIXIbCPUUZfjL09nzNz3w6dpSeocc/npSHPTmS5N3GkZut+fBH1hX3WxPSoNbWQpZs/jef3SXGS7EgeKR6Uayd3IrjH7hOyY1ljfkWwaWAtDOMz6R86Cqa5AC6DEe+oCFJu0TZVZ6vzbrqF8LLWYQlMWKfVjrsQO7CrVhk1x6ZzBrDyVpgheqevUEIMzhFHHn7zENh8NYxprCoLkTm0w6tLe85RPH5SJZGJrGSF2x2wvh3Jud5rmSTYsiu9TyII8yf5ja8IKRF29Z45r7KCLAAZTc44KuzQnQyqdVClHAyWQPIkOFTdTUWXXbkABCTw/kaN9GjFxWCyijEGDj4m7h0Q+0Nbcl/+F5cvTrsyc2WhU7z6MkAXn3eq0IoZA8CQlyQRX9Yl3bIvIUs9txY2u+4PtMEJQ+x+OV+DX5lxWfKpNFMkWtXInv64nVk5SCKIkO7VB22XqxsqYbtk7LTynyrB7hoJBXAOxK7vGAk5LxbIXefX96A6sqg5wIEfMIZw3Bunjldr0QRI7LBGUIjIMf3ZQU3NZUP76XeFgHGOyziD3T8gciTxhAIgAVfHrPgB8Q9G1g+6NnWCFznlA8DJ3H7wJkL2gwTN9Oh4yzq63+74Vfk/dz8UkzaynU9+QAZ8cCV6UVEqA0AXOvnnXjYHcds2ky1Dd62xSnR+BeeOrilL43R7egiqUb97cg+s0IKtEFske72b9CMoAfOOdk0g8ff9nBjCjlrN4IM/Unfm/XLNX04t/RY7bKq3W+BnVXp3/HdQv4EzbPLST4hpagKUl9GATe9L1UxzdZfeA0MU4cDIVEjiEOYndmWu1WcqLL27JLhWpVRzVtFe5FMJ0nQXTnCUlEQh4bmC7WSd2lFpwOm8d/AtMUAWH1spXAdlI3bYOWjnT0sE3TjkxkMTGkDv9mew+C6purYBP9KcVIS0qtowjOKL8qeabN1yWihrYAqs+9h8Fn33V/EtVsRzXvAFezvKx1KnPKRFbyzchMARZBGykzakpjzoNPfLx8+B58naSH/GPKFOYZkFS6mkvg1nWw0VUko6fSNdRb21fgkooXw/eQyQIukedlepMas9KKge2y881mbVATBXYz4tshTGO3bMrFMKlczJyIHKcvXZJgUoUM20vx9Qzjp1v2xRvDke1cm+Bwce/z1vO8/AZ0EjWvnCtkE5o4QS41FBlzxfXo1XYvU8h4hwdNWBErVuLDrhOXrjHgXSzf8+Y0gc5s/zpMnWp+F8qJgFwb9X9i4zsj0VcPGZWzzqVOPrl2aF9oJx4C4GrgULpWkSCPkb0E0CmwRzj6gEyOZOywyIxyXwnt1z2UT10L1cVBE4F8uBE8wmIPqJ94g/fht6PfNDdEAFG3NkxBs/LuzjP2WBdwtnkLmspRL5YbRtVdu0ODhBYoxkBhzxgwJxcWscI+xTSyE0K8ZfoqdQ4KV2MHPg8v5ZPeQ6Dq/riPoboSPMer3LAU/6x7SqmuT26mI7pKvPH7l1P9IyXfsF7A4B5ofQ+dXkMrckDUm00pksOYHyMXZ8cdCvFWDhq/o+SM0r2PL4R1AgefkJHudriYAG8hRGjpN3n1f4F1kuRfN/aakGm9Y9djb3+bvYI8Q7Bl1jv9h7EyPlR45PaGGWTMEVBNLbe8nkBa6QeoRXEWm4DHBxMG09C5ub+5/PRJVD/2r9Wg86XXmWHyu98nyIFNLUJE7TahchmzrWuwF9o1TMLNarmEbyESZbbUlGRDJE7W/YUxlxtOCdrDpkUSGbGQq+SKfqOFGUyKdZiGTNDkKefir2gQcRCVGltBX2VXwbTUmGkN+HggmGZjoQ6B1ZC74T7zpZsaYkEkzHcssViR6e6VamX90O2Ylhal5Qj8D6vliSbsQHJUdJcrW/XPrrvERYHyemk5PcO7NIv3de6ZpJ2TLUme4DAo59lUUFeSaCXby6zayGkeYAIk3/EjqkYDQdWtJd+VZ59ZavDKpPUn4K5CLlwUhJxo5prT3dsAv2aOEvLHK1I1IJtkP8SSQ4Id1c5s08inNDRBg5X8aAZQRnGAHn1yuZanq4SrSnTohA3s+JEgesy1+E89m4o2du93s1Fiv3Jx5mGrmF6e6r36vCTCeYzKM5UP08xBiPQuCqtZV/fFZDBrDYHMRxjtR6Iq62e2mOSM7q/7gwbvv/agPQyCrt7PIBfACYmK5l2E9hbW5t0nbHlw/ns68hyCa0+Vqn3l4RZwDzBA8X4obofY8My9Hgh8H1GxwdrZmlopqqV3jAs93GISmJD7jKln+cR6yMep9ECxznh4MYvfo/BDGTB+fINPGpz1v2MwPh5S6UXYYPyPc320fv0biZuVp0ucMxUiScN9IrWNrkL+qZ3kwWoNoewAHhlnQCQvFy1DOOYL9DD6oEeF9P3qDI1W/qUs/qDYE+aKo7hribvl7K+LrpkV5NYwpfbFlY4hiI1yHC/E0gUxp31uCtTJXdVqPVbcUuckltKqM0sWT/WDCw2gNdkjWPl0V7fnCkIcEhojrVDkyyU5ps15OeD3COqAK/i9o/EFyFCxBJH9BE870yQsMiTaizCizq4NtPGVQzTg3AAXiUXutwH46IY3aIDuDa/J6c1dQaV9An/jMyqKQ17ZHMKxX0Tq50AUyPm1g3Q2O1N5OUdIF7lgqAvCZvFpOW59uvWvB0hiel9BhJU8a3qnUigNufloDKpQqilB03WCYGYyLySnltcMXxpafFyMRtFymWIbMM89ZrdMwtDMBcEMf2mLP0wFr5SfpC/rkz14p2udExv6PjAhpCNgngQK06c671ClyJlaafEPA2E6P58Tte0rt0/OgeeUX83sFmDiDHMWmgV+wcMGBIULk2+08enNhvOqEgIUTP9mic9YXTPVP2K9t2j1LrvdZmqu9sCdDQrI3DIxECft8QMAakc+x5HARo8biD4FBaT5MROy0hygeNiX1PHPiXfBxcyoaKq1b0/Bf6pwODgURfK9nzWQFv1m8NRKkF2qhOoxQ0yAi3cvYyc4+s1wggnyIX3z6laAbklBiPqde6l+3aSQTJxIO94N5nJmigbBiKRLhsQIsgWuXCWC3z2TDJ1mrYloJtsiWd6+pGk3HLM5GlZVaQcsrrSbLEalecs+J0heMuvjy99oHe7dEBiAqDOrL1qpOYqWVvtLYgmz8mM6iyB9ocM/4flirGmvJPdBsigg7GWj78yoAI1giILxFI8jyE2HoreYvYpW3iXHmc+iGIzlXggAtVP8JpJbfKbAuk9UsvxpHdQ6pKpzhUHd/FENbSHgqJjR6tdpPL0LdxVfGzRKnCR5x+qxb7+gj6/cUmPUEMybR85I6GmJxqXnAjN/U7NzLjThhCnkrL5oAFLylARdRQQOXiT/X7bGvQPWjsOVA/lBxfquEDhQgR2L1L2CY0S6lYPXsh8PRjeauy4lb9tonXbhZXOGEVdYMdpfSkX3g/EnXVnQTrxC83W+BFMisVMzNYO3UMZyWrMEFZx4nKN/1usa0rkdxIaaTeYHdyFnBzvX/Y0qLgQ0ecM4vKW5O3/93tYMAvJknyWExjW2aSII86HXpdc7BrRdBidpvi0GPh5slodM08Ur5RI98sATH/GgFWCKEnevAHBfvzqCEuET7MLwUp1rGHcd6dN+Xj/k0ZBBEWswCVobnD8XP8AJoZA9ZMK6V/k5KSSQwUse+VZjsg32+4p2RDsC+cvD1VL7ZxuVzuUqWgNVp6/uE/Xv6JyWwntGXX2oOtss/+kuzWWGI71HPvGbpG6ygvKlIopTBIHkLhOmBzo9BR2xgozYXDyrJC6ABKmSqQFi8dsA84xJjz98pfCywxfuqecz6P9ukAuD1jJA+YYE8IzRz7pFQ0sMxtym12BTDOn6Qm9DwXJVuAaFPZ2f5CB1gFDe/wi3tkUnzbh37yxjHZr2bRgw/MhFrN5u8j+MNleNoT42+1l2TlKLLUTvsM3L5kylaoRuD1B8478AJK1XTDDONl6NRIO9MTdWyw+DILs7BLXMKFVC09XCqtbeZPCdLGVhXNN3/vl77I4Nfu/hVKv/v4jsmoUEJJBgTa8o7ubtToIhkvTu8RgTJL8DDvMElYK+bXj80rbnUE418lFYP30Rqi32J4jAxRpzaMqraxUUj0lCGACT7AQA4UcWvhXaZYsYvWMxRQCvPUw7eAINPkYeqSerhLs5nJDhnE/p98+P3dkHp3OAkQec7xJVQIs6aUSgbZmmXRGtIvYgwZQS30V54Fw7HwRzSF9DL1j8VcYEbSuchVTsEh3hMmdg0ACnTOngk/zXLAa6sl9nwJdaDtcvjLwU4+Kltwf0dNATGL451hw7eBgQRFRjqfSeFiwj4qoOFRnNMJHXLOkIC+lJd2XGpHAxEtvtmGmZvwi3NmCvg3cEfnxc5zpQ/zfsX2hmeQa0cTR8Ot5A+nGoY/W9R5VS+LZyPEe0gLFtzvOWrezI5RFvO6lud5nd191U5Gp55WWSCqObwe443AXW4GwX1Xm6BQcsSCrpq8G5V64B5zL6WPViGL4TnSpWXfz4vBwvADNGunxj1FxMrcvgHtIL/q0NxqlYE9SURo7FE3pBi10oQvxxH1pemxeTQ2X9U1VHagIECQDsKGJZXggjAMozi0Ut+AhDx0bzndjRq26PO2CVmmxMBY6doCWLHQdrxz18SEULaikLDw5cbIM1abQvWHwzNGe8GCt1AgLWG/LAd5xyLU903fJZnlGtdkfVhkWhKmr79CTU1xoKfucvjFQETdqtkq0ZcqUvuKWPMZ7QEap8uNy8VeMBZgtOGqEpdUroBfhwzm1nAf2fx7wiEgpQykPPAWs5dwfetGapLSHp7jnxC1vl5hCR/StfepjJfhiyL5hcNgi5VpxTK0lmmrdr7jzMN7UCu3W/R5qaaKCjGmRsOgGNk0pwYog5GYFaps+MfA1yOrBX9DqOqQWmvWNfY78DTOU8gCXD9LeIc2X1FXXlDqIULsGzQTnhFpCmMrOdbRJ6ftVpcKhoV+tJR0ghohExEuKLyrmKpfPkOFGI+h2Hjs10YW9jM/nI0Z1bZV7PxP3ALS87UAhXpQh+i4iHT3bbPdpWEs2abebHo7Y18xOhjaG66g/cgOM90VztpKUMWr/RZ4QyyclM6+c+ic7bzp19fj33qYGaWVuo9wHk6rVqwzu0aU3k8NYR6H59pnBUVpCGvBBuQbf5FJTacKdbFOm6/OvrJcvrfCL5HZIcVJQB9B//icskg0CObDHnbZ58DHlioZ6hb6ergswy1+zY6kjoR5w7RYR5D5uLNAazgca+dWltlf/Cf8LSv8kY/+4vfUEr8qq64R3miKuaSaRgOG94NViZiY/v9YWuCFyrXbbI66pueEJg2nKEQZVDMTYjwlmsA9oUlj8GZOLes8LYQicopfQYM8eiQSc/iFOg7iGKWxDbkucdkrFxSX4jZwqBlaSh6/r9mWA28Ymcb9m3ploEpa8ueA5O3RQIdxeGUleiZxDu70FSQ+xyayFAo4mlRvpZY1jQNrQtTNdp4G3Rh0SkHmgsEc6qOqc2FZ2un85D8Vh0FRROTqYHgA9JoIiZKupKvRTS9/2JCFjJu+ZkQgZRTqUaTfep3mZ+Bp5lTsdRBGD1IRL6OgSPKHsnd7gsSMHaej0RH+iMxpFoIXO/gQr+I5nF066rAs/jelQtqqgtkFkkrN8MTUXCexo563kh9NhEUIIKYylxn6v1gcF+/Arb4449glQGxyP3B6+ayCNF6ltgyFGjuQtCsrAx5HpOqyK9kU9qRNp5aj1pX0rvM+1kg8myaRbrfO3ccNzGjdyrFhg3cYXJIETmvdpr9u54OiKFnslKSpduNCHAarLbm8EtiuFzdBunPV/oilDrn9wuuZIuT6NVM/XBTK7LKtO3NVs3c7I662h+F0TJa00T950Y+hI/qDRug692QlXAD3UfCNBIZhKx9JCYdjOpo6UlYVbS2UdUODoTPEnjom0PJ3MDifSrgiCvp+gYFxQ/wZ5jfgArIEhFKwCYm0vJLDRgYHwz3K+az2V5PsIccIN0Lh0w8MWrvwQbAejWD/kLVLHgH29/X6h2vVHo23l/HFN2Jurzdv5uP+bx9IobRU5B4zxJmKK9N+T01T602dVYAkrUoQD3ARu2lNiSk/EDKbM13tF3X7C6s1IbpPihdQSHptkoRXzhFmzwIhg6ea2fObiXZUmmV8L86BGjVUmn5gkxuJIi0RTBL8+Xt4Xmk3BQi2+zZ5iDBIlGydck3jzTvW3zB/90KgbkFa49jMw6F6Qt0UpourS4Tw4mdyk/EvcoHvpSN8tBrxNH4Bb9UuCNWTH19JdyOC2i1NI0Q8zljCaJszA53RDfSBuaS+QGrewcWOOlO6Toh76OGU9TrplvaeSHKL4LJSeMslA+zSsYaseOfFkL8pKae+OlQZwCrIZJTflhAOzJPxjsyJNSl09HV94PJXwu9jDBqGq3qcdV1GcVSXV36yRyRYWSeoNLC3JoYXjgvX2BQxs+ZFpGvcPxV4mP0MIpvNbSROdv0lXSuxvJ+33hQb04cWwr7tH6u9UHpVgq8RuMuJEK7VmVbb4bJNNUwiX74p2SbRRv+6q50CXxGGTr8PXITeg5Tw6VOreXeg/lPzYr5n9uKJJOUdbmTyap/Jlt1qPo+yG3aJaG/kVOH8UkUprHi9DBahRgGOXfntjisDQkJeF/pG8bMnDSYRxxdJYxMes+i/NVU5lymtAfLUF06vgzZLgwORoK7sbqTH6KRahY633/QtvQMcEtGNlVb4KleR5YPyWWpE/EMCSj4ObrqEFN6MakDDbHivdV6MwIR2tLtW2Ynksuz10HWHz/3uCh8evbTCMctc0Pzvh1N7azk3CBM8t+5LtvZscDf7twrY/5m+yeLZ22PiXjxBHLQkRaLdTXM9FGmWcuYPM+py60+HW84PQFA/I+NCGVHO0PCFo1cN/i4ZDROrTHcz1dAPODQy1uiX0aOHz48L3ypf3TkKms1w2RQdk6d2q/c2sPGcfDQCHWRHfpI13OLG5jBFdwuVsQNLBeFJMqGO6qTbZI7M9ggP0ghEAN/9AhZ51RHvsY4cCWHVBZaayqb6ZXt/+8J4moUEnxCE6FFmw0j6SIncXeTXmL89ugtd6dmpLvPeX708ZU0EKO8k80LeLA2CYAKnrxDW9Ztz1qzrUKNTX3wZVjTJyPIc71WXgh6F5zRiCIeJwwSTZkdSBSAZHi3WGKm3VXcgTawJLjkLPJhyE5Zpp9QK0Bd8LfGefQVWBlVBswg56PuxPyvdUXsHDKteU7T3r1jh1Q9moX2INdTwC4zqCVC/GhHPJd6ufBstiHD5HYz/+6czUVpgQao+tcwerE4C2n6S+b+hZ8R3+oicn/WaqiZ9WaJjJHZrTgXyjno6chXe7ETE9PEvm76ip63kAN7gfVH7WkEIh7gImFpPtZsDfHayyzPOOOtsgmkAuu8TC6Yr4tlPDpc04DO1l6gYsOfNNcpcjr2nS7MAlkjgnOy0Ldox/N6h6/MtDxGllmGL9IkCWbJKBjnq3SMINcZLZZFE3qFgk2c6N4Mv0mUiFK6zXpFgpQGIBOLCS40yP4PaQ4JLkjs3aG7LGzeFJ2r+a/h/nih4EJci6iVG7g1T/1U1j/BbGiADYH8gJt8lZIcytJLDkkbLUjzwh/5EVUKZKGEkzkOpW/0QbDWVEuCFZn4Nh1tDjGfUHw2TsHO5QeuyZ0njEduFCcbOyHL7DuZJaD0EdFxMZyhGPIwnDzMB6iRJuMOr+CHp0HHdayhHhxVZ2J/qiMddGeXS39jns7NmCHbko3lRCqrOXSLVP5vRe+qJNobjn0SsYfbLq6/SqetmunSGEGh6Nv1MVGsfj/k7CUEsUmzJULOkafO74/L8I8JkqYNoNnUcS3gZiltyvi8kwZ4UNX4ypmTAzxGQ3Ne6G7lTwr8kcg1vplhPVD6dSFj74YiYGVE10zA7TQY8gz50U2iXf+0AUwHbayuLjfdxm8b6qZkgrVcaw2ZsxOfhmYQwfxav1rEzlmDSFdzgQXNG1vl+Me+Nt46GN72AhpGmef0wmtuoc91Q6G9eOKb4wjL6t/Y7HlZxFMYbRyedezPQ+M3Mrwk4TzPfJq94UEvTtLwvyA/wuWRiToopiapTOdKVrdyAKDeuJ1sY2dYcDpHoGR7CcVS+LnwLwH8iEzpRfpCx3SvpqGcFjA4hhEcrH0sXElAao4gM9GJmM5AnVPiYbMFJoEzNjirMGxhSk9uHox16S7afMEHNqKRuaJjmjcg88isT926bArwhi/Sd1Gt4/a8tM1v8gJcdWNeLxrBTe4o1amaLYs7a+iWNUpZ5E6V3SInjeNkIYqn/J0Re42PPiyl+pU5K1A2zWieIXAnzY0LiH8fsygtpZRZ//AddThOQFlFHsGDycQ3wwfSIdlm8VS+z+uC8LJx/GxOXjrlPpYFf159BNSXifsej0ENgNSUjF98m6KJB115Qkx3eRv4gklBlK7E4rvjaeAK/I7X3cAOsEtFCkDlCQwGUUJ1b4mgrP2ZtYaw6cyF2Vlo4PkjfxJt2BaXB+V4LwCZBcYrobFqfRlPLYxpL7EanYWux/mkwujqEEfosH011VP6kvt9D8KuruA6aF2LtumocBETS5PPS15GRZZvghpOv5bl8nk0LDSFgwQqRo4lQEYxZVhMBIZyADWArDbhHusD2wvMxqa1ZWqWot8cP7/l0GRp6RuzMRnikLJocWQOR0Wx5qfczhHaqvV1sWmnlIJvLU6qIU7D3wPo7P9n9n4JxYc6ZZpqlHJy4QXNutxl4X4WFukhEe7Y3m2x3Vqycq/eTqwIuuB0tNpnKl5ksgQMGhjNPjwyvs54piNcFpFFo4nS6uYMhUogzhZHh11gricjSAluQlH22WxYZan7ntaUQoe8FwEPHEiAOUqY7wuER70FcBKQU0xOGD2Fp4GPJbzJd21Cri0LOIVrClExgT7UQHAi7cq2nMMulstP+F9pZzDU8xVc5HfHeGOpT+4IQRiYZPltcvYrKxQ/2SfNq/9F3aZnJAHn456bHQGgeydMrBxysCg0UQjcREIMQwrOl/Aut2sDnTylXk02KpcbuxnSBkcXaMLvI9CPCJvaBYu8mRZm3kUTskoOTn1R4SJtQG1+INAsK25A3iE3tTzG7KZr6KgWo+MPbAeHEiyMwgI5Gz+Uawc8n2JwjP9kKIiJ8YFag52gCCLgGIaEs3TINsmTGYVJWCfGucjQjGTD18cWyyGWJ3MGfW7oMbIE7SvCYxlrI0RT73qYHB702sT75ekYtd2n3ZuI+3BI4oMJDQFwB/4rii+0tincAILSVloQJKpCkvmBaA7CXA53vGB03Lk66f7JzGbx7wOGOejymBboP/jTcLC6WCSJttMJ/xqt/gRxURYNBt7QUonPbM/RmfPv9w30gF0Ec0npVAME4tE/S0UIZo5pdteNAtaVLUkAGmQofuS3443pXhhAzyuayRx66ILJcpnmzYWmJAQtO68moZjwL1QTLnd3l8gAygoCaVxZ+34mfa+/RD6LdyXK2T3iII968X9RH+CvAQWqBshEsnSf/A1RCJFo6gU+vAy2u0bUYUob+40J++ixS7FOptpRjZyJbQ/STinC1+gFrUYiV9Vkv8lwK8+Hbl3pNX0Hoj3b3OQ9AZcGt4gyqvOutGr3qDFaING4j71Lp07+DAa+EpPEfCJDRGSXlca3E07kBSx2hBT3nboBYkcb/RQkQzwjbFe5EeN1cfI0mnEi3GI/k2TJHbD6PO9f7kM0VMayEvkSv9hctMLWKIeS3LuBEXELvyavq3wwI22f7UfJVDBrERGv3v88CO9Kg5KEN1IR8vlii7SgG9r2HJ3mmwMFRsHeZopAoefe+v/orDmusCXLyG8fKw5rf5DsyS9kql5pWuoUTdAxI8mB1Cz12X6Fcr6z1UNXb4lzP8BpkLCL8CRF1U5Ug7yOWYjLWjYaZOUZ001qsvNGSa8s92Rp0Va7huITCByllblyoBEIukzkjXoOD56LzWvkQXNOKVkbPMM0UrPUUfRHh4cq0rVFMQOi3puoBdiXggTmXnO3Sv7YP/r3UjaF+uL0pMV0fp3SmAU1BQ01C8hj8vdJjbdVcrQUkZnxp+9gHqKWqpKDTtdcdBT8Wpf8aFiLtRu0MOR/XjcK69r/iyDc5OYgZw6hXZSUmHoL0gx91NH7p6Rz9tj5c2TnmUQCeQn5ugJK9OOCfmAtPYgLMgzy1VMGhoMm0ZxG+dJIFcWOnBYXxZ3DIggD33M1O+rFYYG3ozgMi2JVTR9KbSTj9meVW8K/yM5XdvpRkMia6ebmSR013WiIuUhtHHaFwQUsKXhxSfIOdE3FgY17XXNiLdP7R3usL1WkzmAXvH3wNOUPlm1JitSXGw5dTpG5XH1qOMf48mCm0qrZ2oGdD9PRPocMcHH8rH2gJbc5NnV0kOj6vUW9WM25K2Xl1P/GaCfqD3fSsqUz+IkfZfEWDBXn0EYaNUmhH9Twt2BNXz4b4a00kj5M40zpMyEd3dXL+xTVNL6dP2Geyox8Z3blSauIbYauRLkNyimJh65l5QlVKCoR+l1cCtNhT6qZZwYYXQ9o4AoHNlI0cxhaR6gr6iu71ISM/N8fACAjNzLkGFlB7oxYsuP+Vqc5XgMlzlg/esd0opU6oSd3dGBA6iFZiFjcMvl6yvN5B4NHWeG13IuHVr2AykzOjiq0wjBcXpElAdVg580RcQAxDxv9iDj68jLCw/J7VKPqJVDCWreXv7TWgI/zLSyRHmIVB8Ls2OZrEILPDo8fAxBDzEF9M6ojf6BY1WWBc5LtAPvSwyg4vsb2Xg0CIXcFgmURTh97uAEiz5gZp6LIA0N5ErSHDJ64J+3pXicwA3bHIMOWgaS9Af8B7bg/MKE29rrAP1SGMuW22lY7gVy+VdDrje02xBWEJjUAEPZO0Ih8ki76jLaOaOCY4S0o4T1c8CPL9m+0SSXpCtORtYUZpi/riasOc40LHHVRBCFDw59KyTrTiD+NYwo9Van94p/4Ngppezd+MW+gCapC9s8/k2YR4/7pqtRb2aetGP9AInvY/c88Ji9Ekl5/+NrGJe65oqXT9Gn0P79YZqtj/4go1jpi/HFh9EWXVgSMfcDDURmxdphqRBxSk+dFOCcN+pnCZwK0qzDg1O5107q/12XGCh8rMKqxo8QAzIBpMAwEbA3JkPGx+G6pb+h56xsrtl/pKd0p2PJDHjAt6Z+L65/Y3+e/QddVSs4zNDY2aqIbSDdmEGiHHUpOteYDzouf0GdTEB6GWgsuMKWomQomVyOQYaGZvLSWnlPYt+GbrW8M9HLv8fiYDutW+jRNVi+1FLYSsHT0APL5VOhbGBSyLU9CziwGijR+cpsMe1fqiHv8UTpZE7/2dyVctM1SmMTQsW/88LgWHVIrHUQ33l6V7tY3JZ2x008UQsBHbDeNvZIUvrnhytF60kpYGI2TKLZKAuEn/Pv9XNNtG0GqTXu16cn0B0zaFaMXBcgx3piuxiFDnTtDV20h7BCwtxJBFfb5uSE99YxefU65whXLc6EZinrzKCXX3zEaQYCQf8sfn4jkVFYe7juReTBUMWwj5k+owcdH0XJTCAFWIFmKzs1rs4suw5hJuKMuo5FF98I7YUSimLXrk+E6N1YT0k1qkFoaI5hXzvHH6QmAIuSDp2jbURnMxrzMrq1Jlg+TdMItEbtU9KYl2fFkwyoumWk0E9qNZ6dNtQkUkRC2g/F/vok9bgDAdUPWNZB2p4Wq1oKP5n25Vw+JPG+QPjAEYeVzODjl4XPpTd4VtWW05nyIr52zJL/hapXt2TV1+dZdVeLlcjIW8WD6UiQoaKcE33bBjMiDEGVhX+uTaQcmSf347aO2ipkg9MHLpCs1LCaSemF82hyJWEj8ZHfgvzEo+7XtxPT1OwziB3zJwfAA30ZuTVZw6/9jHMFp44tRVgnmYpSk1+aEZUFg3JY+fr+HgQpjxXyGjOfOiB6kVCwmfh69EjV9cfhWzMYA5feVN+BhD6DhS+04kT6tqZMPeguHDGDjUC0hYm669t+zb9XnPivi9EUT0t2Ze6VW7TM1GYisjM+Y/wQ0L5VZnJodNRanutdwDiThOtcgcgDP23Y6itqCXHx5m/JMxkDWZJNLDf0LMJmg4OFgP4QuCu9z/Jvq6YcYMt66v4AF2EC1iR1JgZ/5DLaUkZ2SbC4zNVDmxz8xSTaUDxV1McudRK6QUflaxXbP7mvrMwjwgjqTiDX/0iixgHQdo1V1VNYPfstam3Z0j3qBEsaaxHDahiYzVVCPaBkPoAVHfqOvTrY2IgMls4HE36UusxlnZgmTvfd7xy3AGrArdXsTck/fDWzVgSm4XaCnl2igLRgR19meLx+2p5Vx2RTu2DTjT1Cuud31nQCwj0JjfZauNaoPCVVeEArGCRKDJKSGEVuc2yZWdp71U9vmsYePnBl/9oMtrmVBNBQZinFTyLpNUhM4L6kvArUj2QyjyuOQ1cUtxaF/kfNY+bPQUok355oyzzWHmVQktxkqE3eH6rX1w3WerKu0C5WJNXwoUgjfEJOzpedXVnEdan855W9kHgL1PmEBk64GtMOikxaTl+tZtxqyqkXPUsqRQZJfoImJK4J7ccgUhytvEATaNHtwiMBiZ7VFB5pXFGKA7xbCgEi7i6c9yAqPenSJd7DSM/IzjgtlSBe6MhSrF/y1hHzG4UjQQYUW4ql1E7W4c65mikwZv4CYnbBOPSe/WleiLckQlDAcBQzx58pTa8GSX7rBlcRsvcawz7vZpAdGsRkG8XG9WPNySw3tgE8Lwxb2uDUvZEnbEnb9msJ86wfn146xNfF+BsQ3xuujDdx413zJnD8lHTfHj8fGhFnox0w/syP7NCMAuNcyYBwoz2OoOZ6KL18niy++lpxIhWga/OF5KNuxyWlC9G1X9E8VKYIrUVeTSIDRtZQN5+xNAJFaQvxaeMY93YeSqbQrjkov/QbCVw9BkbngmSwCmvp/d2INSqaeOKirEM8Gnkx/ti7+IatmBdB1qR68N6oFBjibRzKoaLtqNzW9zzahecQQKsFmNl0ioPLhjeODnU99Kr5ZxD8+YAvSbb9gyS4eetQa0FwSy2umjcTfia7afsjIHQ6XJceKYq4tbObiCMkbXPhm0WxjBYd+seLRWuPSLHKpjDz+mptt+IcuGefVj406jY5INkt5Mkn16kPL7gtCNtEj+ofGxozmEB22SEi7ZJ++5NjRLtMd8vTnjG26OKANAXl0BXfR4XSpv8AafOuMycuMzUfjfOcRFQ4ENOZya11nD2nzcFwvVtyi1Yyep7YhWQEQKpCv9wtacqZgqQEMzPw38A01rQjLgPwnjQHJ5J2B739mIRORHMCpIvNo6bo52OH0CQ+hrlEZsOqz/vRdGREt7qkkUUz1v+4ap1PERTq7NBPewE9ebcyg/AlUsY9wJvc6K/ysiHSOOXCfnmuUnV7OlVyFLzpZGacRMNiKDedz2c41LeElP4oaHrXwPVOyObg+k7nP2F//AzZkZY/cZNXr99UzrwkEPEmgtmSj1D3mcyYEpp/hmX5O74d3177SpLnRo9sXOHVe45/qwohZxUVANhV9T0atKlZkRt1XGELLWq/wqRDdE234mXfoeRVjSdMZdIA5a+ztMAOmoEE67hcpteRwnRg2by36uIdz5dOJOEOt7giRFPBRIvf24jrkBopqtxVMnVV14RFHzNBbq4DMaJ5DJXWlwX7JaDGvHUAbDLVGfA487vaSNCBCHYuCy+JHOQ0NxhEy8x9MTS7UPNeSQGydx3kBNWQesBusAk35dP3/TyHZx34YOI3emYh57rQcXetVrkMZUAAdmnzEk6wEEoG7C6410dcZs0qeXhTeVrL/+HAfPgAaX4k42VDNYmMxMCvV1aQSiKNcPinrl6CA/tvul6GMVa912fD2vewvDHOQ+7cq7MT2XXdWlRh3PAU0+7qtsyR9qeV6WwNowPMYvodcUxQQzQBDnQOz0WWBQYbz3JacWa++RXVi79cY5VTF5JEc9xy8R7WSJf3DuDTu3O9+WO/1/rFQYecXoYpOT+bpd3N/jBE8FbGakp4CvRKTC4y92Gi8lKEyzvqtE8b4DM53ou0n5VG1Gp5BbmD2xPzfviFL9j5ZM/PTqNVfBKfHLvbFwBpC5iaOVe4i0GXZbx0bN5s+2YMO4nXZKgjIFZQ9mmQ1Bwtoq8YnH7WEdZEUU8ZYACrC1k5Kn4bC0yUJvW05/yB/VPLoD1TgvCWsfZ9leSEit3fZXlL9EUZNquqcVhWQd8cZaopfOMug13v+SzRjr4zqDtQM/6AVex+Kl3l1SaiaB8ejOQYXvI/JVZckezdMwzk5L0H0XfSP2aty70+kdLHsVpvhGcigr/+H3iunurNeOKioxoISgZswTXmQ1C7Q1WsypPsLdvLuSQ30b+gpBF1UXbj4bCLrNT6j407ZSLdATZvyJTSuzlvZkEARJTc9MHwA92NNM6q86xB8qBJ9x9Zk8MWs1ch2sTlyKItVuzM1u84nrdhLbzD85rTgXW4gyDcEoQ0C8Yx2PeKgcyI0pgqxTpxPS/w9xtaMWtmsrbGOT9PThcc/j5fLmBWvFED6AEsHu2+cpbxnZSwi6WwqJoufSi+ppX9MNFGa33i8rIe62Jl6yx903oibD6PNKPRLdhtfGbLweRqrm+Z9pyxh5EFsZxSF5gFpdrjP5QGYhu4U90PT+5zcxbwEWX64tRv677vQPhUwI5fP0W+MiUAY2AhWK+rUlkuFGw8KQQDnA30ADmN8IAw4L+y8qBSkoQMjzRZULPjFhzdnh7Wv1/usgbF3ILhQLfs023zJFPD0wUi8RB4UOdCoes14nkyZZHcmaHGG5FdiBdJOrHfe2LTciPMxi1lfthvwPli0eSxFHo7UlrFmK+lEQC4pvtQeDKk1dbxNsLYtQWo/0rZ9ZGZsbZ8ZKS4xV78Jw31f3tznvs5bg1LXxw+cixCQqRy+JCQX1s3+lR5o9sGIHW/Ou3Zq13qBisJG8C0QnVfPtU2aD4OO5Gn55OQo8de+SX4fAbYsa2RJW06TPp4k08vE/EaAQ9q5X1nMnj4a7hSyjkUplORQk8+C1pQRmULgDtKhH65SvLYBlZRmvpYwXyBq6ZRPjLZJRjBz9n9sPpGaD5gB+7NdHBQWHr3IsLLX/KKzWh9NxUjTthLjrNgRDYlzV+gOekgOhtrgVaCgfwRcSep+JA/6nSfOSKSvq3g1AI4DYvdgcuySI8B0M/QduTGfFnAex3Ir0l3naJg4iowFh25O67artInQMV9T9+CMJSpYrKYmZzJPVFOB6tqSqvzaKGiTuqqSVWpltQKaBCDkz8yGiMV+wDKVe3I8wY7+KQ+0VpS6k3Yloxm612tZWnXn6853xEKoxcVHveoh6lXEFPJXq5D1P1NyewxhjeV/9PJrLqK/sknqT+EHvdy2yWnpUiC77tm9nJvlbwlMEIzJirO9sS7QbFSzNQzFdgpmaRQ3T0Qfd4xmMLkoGcUZCnvx49vFju/Mrw5n1pdAHbRy3fbd8WBwqnpTWNVznbsTEaFFKemLEvoLML4ZdkElkbmWWCgGcaGD2vl65Be21/X8Rn2FcZDGizWd0It8XQ4YqzrCzQ5u7oSnSfMu61/6DC/mRL3uY87v9uvGergrUyQGGPu0YG2aJUU/RG7txYD18oqXQHYsdqnZMoAUHXTKuzaJNKRfQqR08tPcLoBA4UtbCbvi1D0n1lv4gYktTPT011Xhb/myFLtfC4/22IVCIiFk7ns7E9YG2nJ6gMz49u++nxvkLINBFbon0D9nCl0jli7tgKF2FeV0tYBQwFyr+ZcaD96aoLZVc1syGoj6me/t8Q7XoUPH6qKavGMZdHvJMnaop1IC1HxjwaYjHdBZJUxK+9L8Y03o1XJEeod7XyBg/gY2i/LEA7uXaZLEaVHBfc3uhtF8Y6yDrPxsMkh5AV2iHz/F1a4n6u3/EMgn9xiNLIeZHbEPAlCfktnN5PSVOsdDiRy8+NGaocI0eQ2PuuL6E33Fn7mzFZUaHJPB7t/GplHI+LIkYlGS+dUhXQeoZNxCAkmNKsj6rMSXkjZL5o2jGqOJrqebAaWwI/PZ7rphKDJJTz4P6PzFKcdjOYapdYqWy4fc7gb5AsFsxQQu1bbqlv21c9b2aS4JP/vjijzOrprdpmvxYErZ/iNEEteFolALENzqFwjJ+cXs+mtcISKFWZKCs0CohHM/NEHPsjKSkRHZX75VzGT99LhjqTrwg/JcczBZILI6CANnBdjkEWg2R2fQL/uyi5WxpOOC5/wG/ApSWjhueLbG9cmsdtx3freBmQd5naQRQcIK+0roZfGHUEqehwrEv84B+gfFbkblMrHpfrYuIJ0uId57Sw6dI0fp6opfbyNYQQCbdhzDk0d3f+4zqtIIRscZk6gL5Iw60TZuvn7/WFBxcknuT328eo8zspGx4oKyLHpLZlagnEyJFmK29oDGe7B78YbBD8nrB6m8TrnZXdMRJNRjGIU/5fgT33sYfZ+HZ3KBqTRcObHiwH6zO8KxCCVzh7iFiThGGWwtz0zKj5wWmxVkc+NF8xwKoX3Rr7p1RdwaREfEYv0XnteGd76LxGYAYgcIjs0Uel+Jud4X4hyy0qbTnfccMsgLJbNBM8dscd/kTCkmTIpwocP1BIIA0HWO0OEu6r3hr1ThAQB1oDGqL7pp7vzhU2bsk1Gx4Mqnmu2/tqfcug/PgipY95+SH1PZwgb0XyEtlAFc82xSrs6df+fvV3RNhSs9kO4sOV/YbxJBBVsB2SDKHCamhaV3z0+uGySsYtKkzslkTbFRD9QgDa/mOIwgXrxSkp6P0hyqPa4kcRoSKxruS65T4Pi7eALNcpO4hT3rg6FVYCzrfDRRJGMn0PmNtoMbmCC/ogqL5GcJhsiRLFGn6wlNFG1ouVh8GNtdTqeTTGH12B6O8mIrQojyEUHEZnkWRNcjRL4egYji/VpocBxiVQYo+it7bfIsBXZc3Ye1+FOumIkqJADnBDPjvdtBLZ/KqvTY+f4PaNSuRmODqNsaGd1xo3xUDhAMzaXExzs+nDxSuK+8wkt2Z9Q4/SklyRLXPt+MHUpBMBYa6jZwVSKlzrEtGGwfhEWvDddFpEBbn206Ym7QL/oUyjdZu/v/idSknn8eAWtA/0U4leTdA6cICkpZ5AHbA+KS7K4IuzjywK05PiOFUIb9gceINaHySnvMZhv1gihZCQZtLrLe/RQRa/hMncegYGCsfTJGXnTey91fqooVGkcTnXpDRVFJGQ375S1OcGX0S0gz5fTTsOXUHK2X6lIJTdnuXAlGOnu1sdNpyaBSXiGkQTKdRsfMc+vszrL5R4FRluTDqg+82LT3ardUPLyNWme7iO+krX3uHQ0SeGu+tPsB41NZo3DBoWmdxa4sHYv4ok0WjHdPtI1Ji1fm75jUwsJ1GEdcqzATnFfsKdkp1Ki8yJQSqlPggrQU6tQZb44Pe4uAe2FVsf6YM7LGucqFPANvLjqc7BxKbjZhkdVtQx1uJzV0ZWURngRatucY0WAGuRcyeJ/Saw28lIICG0N1QHsbaEA0/ZYA6TcxLpgh+i9hLiqmQLCGglnNbk3qzSwg6PeuHlXOm1TZlHLgz7iVhKsSFilOFntwFcrKI7XD3cvO6XafwzKCZde4QdkeUTnql6LmzS1C2bvt8agpAzltyC0v+GpNKQ7esuoEQIf4ybDTov/Kkvordg+Wlu6Jkn6B9WWL17MELjeJ/EXRXSG4uz4bJTTB80Lq29OzL4c8AKKDjsvcvoTjYgS7orxR3oOEL/E7LB0cwsaEI6aIED9DZTwMpzOJEgZzetxZr18zxMMq0XOWINDv4HoO+k/tk+1W6AyyaaFJuspdNpdxHspuI4j4K5y7Fv6CsGPmO5TdWbLxE294gnJ+6HDoCIl8SWkRBpl0j6l88c3yLYztgOdgGqpvtdHVP0Wm3KoFfK/3Ln9lOVXKpm2Cm+6tla1RXviwMtB0wMWTcPhL1lfmrHyDjFl6EGGAglurDW8JKeT5SMB8Jt3v+P1KX2LzeB1+8LU9g5RDM7+qfjHsqO40HOvqSfcwmMKx8+yAL8e4AkWPwRtSWmFqNvtTdm4bfrSO5d3uJaWA241kzCj0XdD0cUS29kGFSNaXMAPc8txvt+3r7sKyO8Fnup6WAFGJ+SgfDUPkC3YZmMbrOOtRobpqElqHHfPdzIBUPrvXlmD8S9FYNKqizBJ4H1kATnX98D7v8yIGQ9gYSnt315tXRlO4Yf+lEKpoI9rKH3jUE8NRqzHijFCbLV5bsTSK6qagzjh2bgT5Uv58AiFU8QfrpFHS1Gf+amJW2CfArRA5MNf8ks2NvEGtQw01CpaM6LcuoSlEVnysNEbAYffLHkxsKcZk9bM5he1rFzR77orXxtLZ6B0EIicFUssHX+CoYfiUsa40bFljxv4IBGBbujIY7cPL5aweBTZcMd+QTPaXdS50c/UgHtOVuONhsZCWO/52XuOQXDW+50ODiLr/rQzmXEqWMI9+HkghynfRWSeA09NFOdGr4y1BkOe6vmSYcE5z8O4sQMrj5esbmx8UyPkXeP7S0zJkkRhCFYimwvooDGWomp6iBAc9RShIRV7vAUbbfb2uB9osZC1jcyEi9dMlwB9DceMlQ0xpdI2QCxM1VkPIufmt1c1CqaOhAou+es4Q5gt1fkI+OqfnrS6TW7wEM/arCPyBYA6n7C148ssDzjadzjABxBN7iWn8GtiWZUOmXt9ZiHCiqNOBHk6ctqUD7LMjdV0vqpKyGWu5hlJaB64HPPVoY5OGXzg54elNb6It9kF0MRzcW5/jnJHCAwgkxPoZZhb1NUdvSGX9IsyyN9/o3GTWIHnRjzG+GGYLaU9gEr71uVCCc304kbLgTgQQ5WUfLuVp5KdfLbmpxrSPAp2/0OE2TCKDgYLRZKO6sBcg0Gd0e0diIcy2j9bAMGj36hCIgJxhvFXzqciaZEOdEhqoVqOiuYZDNtF4KDAGcQXVvBOR+J1A4L5v5n5UTLcU9+Ff46rrJtbX+3ZiMsqY0Fxktdsiku1v05OJQXyGc4MyZjXTc6iT1KYfZwMRySJm0xDzSqPNOZRFeHWGcV6tbzCDbwymtyFY1qDeJd3CEH+PUUErSaborkKXJ0nCoTov6DW0+KubG/6d2YZyyKO6WCmlaE5h6ys5AVMd+hdjL6Fhbiudib17z3husN8rY52IgjRnXtSY+MXuNTM+eLhc+h2mCPvO9IC50ab1Yx2coaENyt+mqAiYKN3ljjKLj8JEPWNFAvVoqc0hsXuV5LakDX1iHGKJhNvs+bxDbxfMGyWIxss93LRxCO5Mw8rU89KsXkYaX6vwGkWtXw2ybKScfILm3T1lWS6Kmj8hsO7ZenkAmL0lD2QAyBmDtABPPDmglSSIZoKFwkZWWJl0vZnfcRZ5zStpb2EgI7DMZK3+o1Oana8Z4c9FZ9MA/KeJQ7LdYiPm+w7eLTJTXDmltHp46eki58w4BoKPkRCB+p9HlS8XEChPtiu9vAg3dl0wfh5lA3WwJfyWP3sRLIE1BzCqN78RXwss46z3klKjnMTSgBEnkMfjNlsWO6hpkf8upL7grYGFSNU+koiBD1hhgqVqBt88FbjaK3YvRSW5sb2mmAWFIHAlXgEjhmNqCE2GA8ykUfBFboL+BGpRnmgBjMejmADn73CzoCza8yZewaDELzfEuxvRYORTaO0k6vYGQf06WQypEG+2Edo+B5FVblbyF6dWd9x7gHRYG4GDTNnWUZlbvF5/iB4RvOOOWHFmMO38izC1mu7WR87MTDSQ3SzWRcM/tbl9ZQTIoAFNETGXD9tGBnicMvnve71RMj1KM4Mqyaa8mUlU48IJLr0o/l0H5E1+x0xSETPCVtyFXFBDOT9/DuUXHRL4IOsEryAyOi/7ng+sm1lDrvYiYAUA9E3JwilEJyqZYgyxTIjcnwiaOQXw/KU+zxuZWLkTCrE6AK71bHYx59bXkkUrHaM9xiwA6qqIhjzm2qXSHmYhvjL+PDOjgc4NmrlD79MCijnHSddDuj0+C4wzSO9uLV/cgcx0VgVzIj7S3PyG6YCUuoHp7zfavwFNwl70lJbgSmbwubvHc88UhACojKao+TQxpYhKqo/S0sv141VxL4pz0jzpMwflyndKU3XVamIxof3K4Sr6BBzdd2GilkJjFMRAXoqFJddtNjmGwrRYgFY5YabmE42dMsoqBWCHWW6oc1g5DQG/kRipm3PZKbCN3PupIqY6A7+J0rkze4v4RhSHGu+2SyXvf8ObRnJRzjrU641Oxl0CJ+dc5ToDEOBJKah7HYy3Ci/RvqhRY5z1z5MXNFPqvn5MOiYEQU16A49L6/KD3ka/lIkpFC6PrFYRUpnWX0KF5+T3K2RzqGdAIco0eclf7Q8hzU0jxx+Q6XGMN7ehNsG0srv/R42zbr9WLvNEenOg53DJdTAwgwKHuxWLl+8+KA/7r+a/G71auAHnMoB2EogNf4ouzrvX3n55httGeshbhWFktRqjnhYeloA0FJQCRrS14mJvDletgg3geQPoUDMss8Q92vc25g97+NhqJ6vFm/TRYu3UIIyJUc9W50gzjoxI/gm0DZirbA+aE8PXCb1D2tQHPhchI9jJ20pPGClqjMJHVVWhJjjv86x4gHwOWGDC66k/kJ24GLOhUvWTsNT/CA1/+XYG5D409B78PmjaF/k1gAmTFozUXduA0jgd+CMco4iqRoNXFZ5Gk5vczb9DXuAQFvgH96/ori/GLBFIBY9Lr0i5cfBa3G0Ym5kc8qg3ckholzt35emHD5DDLpaMAH3JxTf93u40IC69eSU3uzOnJwQ95N3OFgRW1kfdQsrb7gYB/SVZw5Qvi/7g2FcQ48J7nj6GcRJosOh864LvuvDDt8rXGHdEQbg9OBiTEwBsXJt8Tt4UnpPuvJ4mVC0cghSAu8JF9c9Yt+7iIFeYBXPqFR6f9p/Fo/s5a9e9eymrITSHygmN1/BE2NnkiG9imsBLs4kOi1ZRdLdhuFgc8Ox4xoUmGs8N5ozIR/ja9PQGI9YtxIRgqVEr+FZ8JvFcaWCuMe5rgiWs5fiDo8MlYioQgFf/1U64UUcp3ElB4WjsXZYhxcKjoehjbyik+/f9e/dQ6+rlBpTXknt4hlHNta8xPbJy/xco1ofWbFNd7wUtV2i8srSWNxQsFKivNqPOfK8IVNz16fFBsNBDdl8mKylzpAxRQxf+jEalbruAuOhknGUsppB1wdrrfdoif/MuZTNCcnL7iVJc7/uuRIMEQaX92HoG3Bq/qV2gYcUYocWAHXTwejJ1yRLNU0yyWcRnEnoPTWZxjTHNTaUHmi7eyob2RPQ3RPmphI5hVp1B8zirGZ2KMbh8WsKS5foOURvElIX8OA0eQ6PTXW0uQ3xj+aN2w3j9gQEfYNVVg/cBbZQTB8mJfK2aSATiZBG4JAvpB4hL98zdaeDH6wHpVDYrOwQvMmdF0enCcAW7oBbxXBJIAfjbgvQS1jMIEhqeu2qIa1vMOfG+qhfm3xSBLuMwu3/fZy//BGjGhbKdANgk/pDY4MBwrjZT5gq+QQrRUWB8WMcnhfQ5fmoOSCykChlfF04Cuji2yPUBfYVUBfx4aMTxUHyk8ADPiy650/3xx9XG7RSFwozfpY03wWvL0Pej/iop9TPjhIfy3DPzdTEOMSe92tgDp9AQSHv0L1RDKMxibu/ennVvi9c4j5T+hiUXOKrPKHpzlT+x8Mk+xYt2TQLhIaFvjo+lhYhMT/i2C7Zy+kMqTFWArsVHK15OGMbZES3mdBjLp99LXZAs4R+eaaHQUb8KhuBg340L9oqdo3CuAHdVHAgs44pNpl8RK0hh+ZvtTcHd9M1o5oB4zuhFYZXeH85X2THf8kNN6bhCEJtQaF391WV4Fy9G7uOl8pLdTrwL6X0xBh9PcGH0qg72WKpRR42HGLlDJKhxXVoaAAh85HuQ5t8iegKv4QPoN03HJuh4dZHbONYsuGiwaMyvNw6oVbY3dtb9VF0wBS1BGnB2xj+sGDH9bKiaVzFg25sycIZH57WwfXyQ7IYR8B3zUGsLHF08cCPsXE7BzuaNxrR3kcMPl2MnfS2x2HHCb6qVg8n+mUmnhr/BVrwqYEhaoLs6nn9myyebCF98wcw4o84E8ReFIQp+y2h54+E8nftR8uidNA3qphqxCGtWEnY7UGKZduupaPhqR5XNR1HkaQ9f0iqrCOmVDfAe/enO7rKo0N+MgoWecBJooLzBqQlcjwvCWEkts60MwcjeomEswzULs1i/i82WpNyHBCucDTmTRxvmbsrPoBz3SpyCczLx7rQuiddbCrx4ERJKlcHJEXrPAVZh7AuHnrl5Y+cWypAQqMa4K3ZMHsF9cwk3kahPgiaCsH3Hdg+EQpmmlVnpPRY4R45dVWcLaRfinCPfmogL5mvFXjiqYEPIRyRayWOnIQXnH5ow7GY+ipL8MuhDTWn9xMVlAcAd5mMvVsBsnjGcRTtdlVro1bJ8PKS2hvcI10e/7xhrHHfXnSdt9Zo1tBby4mbjgh/PwSMZRMwSVd+x4IV0MXukhlDKn0Yfdpu/bI+xlD2fouGMjP52y7SlLZiCe96vQs4FT5/0x9YktDAg9IxPtlf7VORcqeUo09O0wGThOm43g92S/KCQ8GlrXdorvVUyegnR9uQp8GYPU1Xs/k32XDxL0Oqu5qFPUGhhJY6gS62VK6qQGKtM1Lhs91D5ycgUICzoLeYUfjHrIt1Ik/9yv6xbt9kU8nB6dV7sE2m+QvxYFl/kgL6Njn/RpxDiFKHDGWmpZlrp/0l3jxInS0XSRHcyTjJMD3m2qUaOUAMrulYOTv3x7SoSEXADshV8f1ZKRIFvvv2uP49vDqHyfwZMdZ+TTUS/BSom+SxG4Ubtae1AT/7fR0Atci0vm+lHfUQ2sqgcotZLY7gtVrTxjxZ6EnDr5+xRHx1Z+xLp2oOen/USmaGQzqn4+/iywRRsLVBFWURB01fN+skyAKa0LwccurE14OKLLcKnnJ3FujichCDYQVVoibImD+/oarhYqFYhlFDYNCyGLWThcZNomvxC4PT4kQBEBKuoBnHdu7QkP1s8dEHI38Xv+ZWAzu1iCyjAov83S8YmDlDPuYQPHv7xPDeSgEGLYuJvx5TREi8C0TuGJWI9gCcR3piP0zI4pW5G6i4GSr/9L49aQfAcmsoolvwDsJ2V09iSdcVGyUt51auKjWXFCbOw+olQOpNpTAShxXo97VeS9xmMM0l27jEwYtdkQaJCsHtk86UsL6V0uRvzodyI4j2q6YugKbDJEU8M2TcRETWmAagJ2k+pY7w21TF8K2BufpPmj7PdXot2Ika4UuZNb/zuPsegJIxFwaV3O3ugMe8C+0EQfAQjcMteMvHV6a+sHx2wjeWME3IXFqsjqKFu/t4HjxO/vyywmXgN2sh1FNU900D0twzNLkbszX6o602+YjdQWVYglkGQDmkbvGnqqqqwHdLJTOn6jg2eFlYmGeEf0UpC+CmUZYpFX5S5WQ2ul3p/om2tsFnQwUqJ8ZxRB/ZOl8iwn66I/6A0pG0Etn3gNBABMtN2RsrffjTfsvklthDo2eYBMvxzZbWNSRT261hYcPNgIOU/lkuDNynrjV+KEDAqjfabQAdC2h+Cz9GZfJT5G//YNDO8YW30APbegyM+dIC8s7874vjGT9BPu7WBLaP7l+sRYkCSoFz6bRT4CDxbPTYhGqFj9oZqvlrLMur+2gzw8b+OXAc6/0hFiRkeDnw+dG+KLN99fsZb3kpDBvwM83Sp3Km/hWsoPi9dMg9PDfwk4zTcy0oNWBfRhLV/3ZGDClt1Ipv8wa578IrZ/EzTjiG/88hyYVy49OvKxdJX5IDrvpjWDZAmwzL6dl4HIT2noD35zC+AO6NCSs1aeeMofMLjCxbNuLQAardPA7LMu+zIL279ZFd3L57V2ENO1lSpEFqL+jgzpWEHoIFVRjOw4H38guvl5igeng91EoOWHi3s2rZ33B4tGPG2F/7Mzpq2dGr/0JYNrWkhSo8gyYvJrFkpUbWMMRR6sawFAZXpDIP6oQcCeh0yBj+uxgZl3gX1kqOfeP95lQ08g9IjCtHhWBLikXYoAGtZrDAFYecgDHgyB39dDwobs1FnI3dZcxaAouoSxv7q24MA+syOe2QV3Iazfj1zHbSfdad+jUmCKeCz6zd5M3M4rWOdbIKp7zncmIIeUFmh/7pLc/gQJrXBxMvcn1aJegtbwwgVFA+QR5OPuS+RPNn8qagCGx8tlJJnzgRMt3ZfmKiqCbJMkD9vq/tSHxmIf3lijAH1mJLGgDqd74dWSeoq6m8BV+J1o2hqUNFK9EnykLvLkos/QB64zalEX8HGfTYZvzO+ErESatBHUi9jC6IwFE6h/QjijMHXBwXSSiF1LYxZwXefrbcSrQbBdiYDzjkdFgywMVDeKEvXxhj+RvOTa/tOjB1b1bpYOAboV3xlcFIlVaOWVrDUGhfMbpkx6/7hp3oqa+FXYObCMs9C+yOIuemBR4EvG8XQuLIZ0+X3H7K1eUP+IJTBd1o9HqQtBJKYE75+HkKju9ZSo9i9xM0siZUNVt3iqcpnbarivQJQaik557GDe4zWs/yPGg2kPQVHECVupqYdfk7AXxCB1cuF4I4sJ0yGexB+abWEZP35C6cEeKyGjzr8KvaS9A80e50UZepSdWez10ZJjcb0qmqF7pz4mgZ76+WixUF0rcMj/KO0SOir+Wtqai9KQTyynEcDUdT42d4R8T1ojD+ZBkj9bGV0+P2ZLvNNK+KvUz/nm6Qv17MgXgI9T498c/r+CJlbEJxaiuTRcxKgT5oKYaV+oeZ3llWZQE0RyJCKWiSNlZJR7ERRsew+X0+LfXTBVU+2gnC2S9dQFT4yxE4IL9QsD/p8CaJ1D2yT4APLFU5gjJHwNxwVjFVIaOgmLuyghzOh9PK5iUa5+AH1byZKZWdZBnGWNlsmK/k4sFDrwu3tgTHWHaDrme2yEnvlohgMfXmtiXnwrk9SlmzC4w4w+U0hQ+fEkgmU1FwZR+BlZy41bUL9A5fwLN49Bta/NasWt1ZMHhm2pU+r688cB455uzh6o5pq2mx7SujYAmfX78HNICmtJ2ePJEt5mThlofIj/00joNXRpZKBuWGLTaRctA/3mfDV01ACBZwoIV1FNw3hDkLJ4SfWZ5xyHIdYx7mfYMC2fYiba43tSsLdqx7WsVMFP/FNItHv/qy+USoyuwkpz2tdD5WVZKts/qy2tC8uMjfnz9zGkWNQF/cpSftsvbydCLGwgRwXs2ITW7LpjL+JMpz2XvvSdB8hecrFNbgaqOXsKnf8wO9sHKuGijMF+Af1YPhJs0DjMQgdfKf60gs/qWqTaKuNwSHwRaYGf8jX3362zhmOpgFEc7Pprq+Tsx2OohFpUaaXZJg+xvD/0aVWmDfKI+0nRP9J+T5JPDj5JtnWWaxlaRhywJp63tA+9lAoUAFuOosxW3xQ1j8zHif6gBqwpO54zMWfB+Q/inYAbnRkVWq8BtWnUS3NbOZDEb/gnm0DR4cf8aC3iYr35X4U5ahiQax1XDaR0FJwjBcOnHIcLH4FaWuenn1f0yXheAk0VRi8Q1uhsdEptnyvFjRA8+Nqkc2JByLNfNEfNS9Atp4FU4KayHTYPMZSCQhMuYXyYNo8MA49UPZd5XszoYs4mIqNDGuQOn7g46mNwg9hpRi1BLNO3L5otmJaVU43TwXayxo1JsZ5SID0bXc4FOQDilm5ohiKDjvgG7tqODtqa3NFR6mQ9Q+7NO+YAVxjua+w6w9Pbe7ViBx0kdPDCb0K7OMfE9ohreMnnFK1M+z6+yDryduzRNy1yX4Vu3t257jvyq8LiN9dzHWc+s58n/QyyRppwHq1rhU/2VcWJfaGDL/sou2vkor2W/gWE8krRClhc4iJvPygvm3MeOryTp9rfHoHXu6ZDVs6damH+fTLb1NHZLu2aAJ4bIwdJxLbdPA6RgZgYG6r1oTlPkJn4Ca9H2Tppc/+tKhSGrN/7lRTjjYal7n4J35fN4wE5FMrnz3cMU+YAXzG/Of+VDivto+CTO5R2XRnZeP7TfsPwLGPQHmyVcCN08cO+buSL35N7WzAdXTRNVNH5kE7AfIYO88DbQy4G+Zmwjtzr923v5BWKeQee3D7Whxv6PJnI7r2Y++Wmm/QwzCxJPGNkKDfxoA3GE16txKuIvETa3Rgr/tV8OHUlzrSF9+8iBU2R9N/bM8m4vfoOJtOEA7PuDlCKtHmf2isxs1jkA2XyX/YRyPtOryfJYViHiFUBmCnVfiq+enoEvW8pQizfC71W5g++4loyskhvrZhAaw5FJE77ZY76CtdiZ4UaOYooSmdzCX5J+qKVXaugl92lpGyX+LLz26oDAhYgVbDVSZiZ8IwNaXP73fugx6wbwXqfqEQWvt1YIXXJjPt9yBkwBi7/fpmL4GpvOEs9A9qtDXGtQErtSMpdzLBYhRuQKzRlp4iIlnKIbHWYw4vaII2bGIWm6wDwOcd0VPiKsEmaJA9/bcElV5ikPKFHwFlSc/YFao2u2XnJOHKuU4B6zunlmUAZVD1jmR8Mb71J4Y7ULG50bXv4y3O5I3MK0K4NLcbqzqx1SiGpdEDb5fh2swag1usl2rmZwZMsMW9cA30tb3VqZeADgSLMagO/Z6p0TQw7KpD9HMDYf9gO5Cf+G8RzySBp6KhpKNMWcA9Cjrn1P2b/9xdFbf8V0XJ8fsMOp/GcAu17PyO1GdhFI/g5IS2WzJWZ3YBBj/+enjVtqYfoWc6vHWTkRWiYEdbDygCaFfvv9dFn6OUkm61Q2ic1wBrpS65VoQ6L4WmqJcZNutnSk8iJHJly36W654QswyQV3BmwriIF2SvCPna8kJQjuFRRfye4Y8p0uoe7HmpdupYklV3sTLKNBgn0yBcbGjnDy3cNSnfciZL0VVwtkICg/SoUeB6O37RVkAsL0nhGcuNxKkulcAK5drScCfSMUePOa9ccfcfTq59oWqOTnpwATSS7gsFtQATLq4YBCScCkMNAkNumM/etvtO51zStscx9rF79wMNHDmiJ6wHsZh7iS/GIa/1vYGkvxr2TXMFQGQbvAqP7i++zDt8e7Q/PTczLI8OSmwHHe1dns10/qnuToAXw6NVoHLmYfHUhhkNgvic5hAvgedzt8ak2COOGBfKTBWl5VgEUy/VTpWPBrCpPzY7FkTEvU2P6hcfOBrGYjnFlyRIvWYr9jAbr2GZv0E+rEdvhTJ36duAZhwWA6CechVJjxK0XLCIhu2BQ8v25wkDKn0N+26prguYFxWwoiYzXpNrio24MAX6sHIxT4RF08U8FAdbGw49aCvph168/o6bt60KNoJygHRl+oAXD1X3Smt5y7wEj/XGLwL6yt63JTtoC4OaWPdDSIUFJvmSu2/eysBqYI8SsbV4S3fQ/adjV98ikEvXkEKGHpPmM/cTS1bKgx26R/YigdTVqUEKXiuRAmhK8Yikc0jiK7ip3OMl98prZ9qPW0SsC5aYTeUA0otHPH7iSZzxcwn/Ru53WqymYCMnNizJW206pxcwLaX9fhPMUkt80murVY05qnF/pQSXNEiW3zMCbzUkAo9xaxPECSZBOjDBtqgEwizo+BHaewf34SQPnp73OAXk1weCd8ojnNpgD+kEr/W0pojJRUA3Md0JXhe/AWjCrAGX2+v4+SvtfF0XBgF/9oXDm/hRt/3648J22r0UlCz0/QUidTrN9iGvs2YGbhZ4ZQ85gAjely36wgvyfbJHRcQ+pH7dPvOWs90xxNS10d5mnb120RPYp4QJQzPrtB+SujZagpDXg2fvjXc9PqB2JENtk5J21Yt/kUPMrCEUpSmpVO09uoIyA1oMsFDubxkhs4NZwjxZo5Xqf24j4VUzEE8+r1DQ5Wk1QuOhO2OA0Tw4bz+WYKSFKXnIJhbB8nmU0TQ9wiyDviqy/ycL0aBYWVxJu0XBDFXD/CvhP8NlSOuM3e7qJClU8Og1bDgBdZV9AefwAgCQS9xvXEL2rjeHDl2LzrtUcBtNzxZqFxj1bGoxCh48ezy5JhLT1vtcek/5IbYKv8jpUuibdUq5Z7YK61eBtT+tfAJO4IQiJPa1in2weHtoO1pB7Q1CREWZfuoqwil+iZFddRDJIFwquadpCalxiYv0Enw7MibVMBsIXCjBNxhrAg6dqNxemQTuFzG4koflJKaeV2YNXFsBwct5WMB+jiOeqhF9ipbVdJKVd5z48CaJGvQi5E4rBoyHyU/plnSiKM+4I3prL6Etskg9KG1sqVLgf8e1gkYnvtdCG4qVxqXGliXdtf5LGHZomg1eK1j2yzCVdppGfoqHjXfL+jnkbl/Ab2oTonV9aIywd21t2VNZsb2dNieLTApytyqNlUyOkcN1wwh28Ds0PIDuv4l1cOBw0jCbKNOJB8F7BtxUKOQN7RY/UqQtP4uXdpya1I9NyCLxyp3CYx95NU54olnN7xzCargtu+A4ByrR9g+9dXI4nwIHMpt7pX9gg/krqHlJoEiX5BJsjXYLUzSVMM4dWeUy6dHLDdbfRej1MuqPBR277/UzaRQdkv1SJUJFWRYCPoe4BHYbh78DFQiNB/G7mGx/FKj08srGvSJPiquj3XAtu+R77FPzlhggYZ/r4l16XDwH+O139rCrrAuFAUUPGLWDKiFa83OZs+63d7O6tp9ybo7xccrjXiuqYoH35xu6KNf9+XQ3c9viGcHHLwRyPtB7DkNLp+FoWbqvzZpaBM6Q080UGohwZ03Hd22GvWNQKkYqCNPF/jufvQbo9zLg/Ycrflh8JhB9VglvneKDxDeINLxGqc3Y5g9tyNaQsQxaOwJSNGDVnoE/Jrae00g/YQkyNElSpk4nP46H3o2PfpnL7/7GyC2mr98084tz6O2kXQxnh6UQrcFIPlHxD0j59c560mICtAtZoLFCTEUpH66amePO3oZ6vBSfTOimL5uxKukkysGErTeOHKUv7ubRZMY0fMFk/ne0Cv06bRFJMpLHmy3ndISbi8ymPBieVz+BMVULfErSMBvlQnXwkZ5tNwp+icC4K/QVrX5rgV2yqas2LtzyDnhKr0DdqpnxHvouVuy5HE/olqemmI9496f/P4rvoyWCVGBGbB/Ow618MdkDbB9kTPNuo7pbYwGkh9Q/RY5SXcOgOyi00cKasCnNzQZ6LE3885jPM4D0QqMIiRt+XYHVsm8JW/XJ4noKpK7yealyiaousawRm7IUKuwos01FQtTyBdaqFATsGcH4ZfLwpRCFLtTc2ji9yvxruZZCHwUA8RYX6n8VRljHpY5RbbrnTnAaV0hkY5oARNPecwBNfpsHhkcxsv/zFYzF5KqNiEWU9cC1Be6vgc4j0ir7+q0fh/sxxvC2niu7vCTWQZ6MvRLrTPoHCZzonNfTE5khglKXu70gu8rasExroMlmZ6smpEDyxjLVcq+bPIdJcIqts30+Y5MOAN+Eah7YE8IignkLGi8ZrpbBY3qeeAGZMKbK9OCFVJbCzaLw/mFCrebphmV3wFZIizOUY/lHcw+ZwKK8KR5XzhFvp5fPkJlLRDpKm2UHctVeXBUaeBLnGppgU26wm8rifUdFpl/XNonPG/rZXIKbXPQ/TEndZurTP41LUjpAX+Y9t3QqGK6FqRpIPT+j0EbBhHf9o1hfMEkukLl0WgeH/v4L3O0LckBXWiVjvlhpYQOH317rLy2Csyq5gPmhDboT7SH+rAATk1eHkJuuHsIQmTIGtHRD7YK1Lq4Pie3zeY0tWiliwTHZpb7hPk9jJWWXRqtV8Cd6FzL++itDeyKWsOqH59u2pt/WYo4FIKMpTDwxkYEEKPuPE0zeG64g9AqJvbN9StrB2oMTPclL6q1qpHcitYQKLriFhrPxxsm+EOKwYG1xgfJSPTjDyupqGalThBIHdHxfnVpRfh9XK+aM+Wg6XlAf3iJ6oIx3zo5iCf1tCtVNMh2cQfxjoI3GLQWWG+u5i6f7dxsbb/cV2z4AYInIuY5rAORKkee8kA0PQirWD9AKGyC7fd3J6PZ8uRKdjilZ1lVO2IUvNWD8yMgBqTalSmbirzqf3dwIy8j0TAjOT2eO1j1ethns0x4OpVXGdRmKoxCMqF9dL+aqpXvswajGWxnnka7rKVe3fS7ECBgdfNOupP7Cu2zv8lyrcSRh1gL07CGmVK3tfxLirfR8lnM7Cij4YJoM3xXX0lKbg7agcUH42eL39nISXwPXfl3vviBWUgAIxV0RqGVTk2jOsq6Rbxz7EgzvhG5gY24EgB6ETVecS6jbvkHi8A/WBLQffuKZ4INQG1UX/DtSMEW/SZCDGU7KtUGqzjFJKTBNehHuSYwOIOQGjFfVwIm9W/PysTJkeAckzfveBwXUHCsl8Y/ePqNszRcSveMuRF+tq45JAJH6uf/zWLVTk+PX55mr7JT52limaXqT07P1j/FioHQwkY4SxDbEtDWTdKW9b2y7xwsoh25sAAlWC7lPMHTmUokYRAfVqyVrjyLvV6pq8VmjswIuSJYuxG8aajsaas2zMTOMPuQroJhMad3QaMRqakXFdGJYQKpddsz05FRz0Hwp0PTZnlKkuhrU7nAGDKaiMVuJOGhqW+ydUE+DZnNERORpdzCZAzINdzHHbkwNEjNIhL8mvzqAI8y4WBfJVBiMZmiB3ywgJQH8YVEaTdEJHH0RawKg36H8i6CTAWkghUiv/OJVBKeiHhiHr09n29xIr8J369WSNEEtqpXhnIkEECE5DGVv/qIAf8/mk8ihxK/PQijfeYQqR3yqNugw7BTeLkSwbC/hcUi5IO0qb0PTl0hq7XFfHPh8fAL3Ij3euAfNyzGiMd52wyXz66tsth2olHkse7jt7cTkEHPE/8JfjNyoVnlhr/rOmMAzcIUEEJiUqf38Ony803DeNiisl3HHYXjBY/LxoeflG3GrKCA0M2kKzg+RNi3d3Hlx12CCsFGVSKOUzJgAXFLIQw42dUszViCpRlFywvLIQJFkVeEa9yns7vvJI5FzysMhfskIEUS+cM1igaqi0/mww/0hStZe/YTZl8WvoKsal2SVBbV81uMTgFmtHwY0Sr1k/AbXVdRx/HK/gAltFmXbyW8osTEO2s2BRNrVe6X1KNcyjaaa5uFJhAc88XcPOiH6Qc/vwJK0t9FZJbVt8/mPCmbOeyhyJyMIU0zC6C0USI4QYuNkzhAukAvBhIQkZBdmpT6Ci5S5Q2S/v/u+IreUkJhW5cBcgCgqANWHcrDIMQFKBnFKkXHBPYg8BiQfz1t/1XHjPdBWGnqjEid6yvy0v5m8na4UjAtQFC4zdh2cLUgP9HrxN/Lsj8z1seJg8qRNZZKYIsJR9FTdUj2UhunZJ4O+JlkhWYhxfgmucuu+QPVCNdPVdbchnAjLBlMFtZ8aOvuPTKFBn/CYBDiQ9zxzMETp34IAb6rEKXCmWmGip/0ITaBxPNgEZynbGN0r3ooRi27PONOOVp5D6iB3qbE7G9sbFixNRLJLpxk5yTjBoC8rv5gzB1H4KgL8jOzOfpZCWMlWFgm6t5by+IDAkA1Iyf/Z5DuwYQZF9d1yn8ISJ4okA3Agvyy15aAJ2k+B2CRnr4ndNdBR5hrtx0J9qv1pbuyrJU0ZgagMUMd5m00YObmCTPAApRUdwSNLD55ZkzE3OnQ1z5Amtg+03HOYh0a4eZb8o9jsviOGyGXFAqKcUmzoU8ka6jxPqO2MNQ+gklFgrq1obObg2vsIjbuNnneZjT2lvNQjzeom2+QqOR6DTcEtOzE8TV6CPC9OGb1iiir201+XFUl4CV7U8lCHdFM+ECiGC5+jF32vpley7YMnMPwk8fpmFwV4OV53TxnSThHS5fvSpB+vUh6Nw4vRC5qiLNpDnCpnaO/ZhmG1wW1kRGZsWaa2/89FXyXRxqVh+1mDoLWeApDCohp/ZQdsPtInGmJ+qtdS/LGMYJIesiVB0ARjVtVcFh34tHjfk4xX+l7ynTFpZbxXG2Hv48WuIK4H13rOlcLfJRWvLRt2g9MbVxq3Ig9Ad5ElFprz/4+tpDHw7R472IiaB/TOlm6xdvEnI+5mf+O/xl+k6llFnIztiOZm2vFs/6slmc6oJfdR/w5QRfEaRwsEj1P/pg85AgYvQOuFXcZFYI5YumxbS993YYlvJ34iow1Pm89tjmqZm6zFxLuqg3YK6P15NvBl8DAClOnOFjqSWDYkuGFFG1ciY/mFSt36wr9osCb5PD4Zde5LFhbXiI/T0bKDTW83szDb4r3XipmYjmLQn5RvgqqAN5Yeh3puLLaETGNEs2TNCvcKdh+seqSIwSdLksmD28i4QmkphZz9453QGoXPw4IgqUZ+P+DliLDtXQodWXfyH7wZMyZDRkILA6TeGM5y2aHby1TuqTGZWL8lklzgpdDC9TlEifExJkA9VMSPkyef4qSYO9SsLatE21DaVE4rVGsJk7TEelygvT6uzgad9PjEOFwuFGVGmmekI8LSYRd13FJQulGO9usZvYKZ7wL5C0VJ8sIM8zEVnvzLTRARYpAvX7Rg0MaJUEC6uarM3/buIiyXRtm9gTC6q6hhesR3bmHq3sxMZ+k20WFqQHGjR+1IGZzilzYEAq9gV2ZoVafMkvceVurdfybaWeB2KgQrj3hX2FO8ODKWuRYHgDRF7TGDpAtCeSSqnl2UQl7RkE7kexpZgpCNMuw1Sd8eX6YJkczdDi4QJGvUn5muMakE4lMF+7Burq3vu/3F1a+qn1gWyEwoCvquvLeexPdXy/emdrmYIQozIk52MhVEm3xDGEE5qIPq8+QXZRTbiSfkK5TzhTfQzOfNSogRAtzSyWrtuXnTV0zgh4oXvVak4hz0pwUYB0u1nlpfU2NDVZIViIiO5iEOAvMPlEmhKBg1N6GfoEuHaHYG4BZbZvQPJLpzOERifL4Gfd+v10Vd6Fv4Ti/Qj03ShHgBojHYQLzMUQ/1AbWKD7BPA5KEF5BVvUvLL5wC/YVWcmxmhytCntKwuDYlxJY44wSIVKEoZGCmMXnFDkm8UilkBH0BOcRA+4MBBBpzBKCC8oABu2cWmm+4paluP+FCPUM6WknRnRVbFXx/rKuMvjGsMyUjLJ3ShVXVhvrP+wyI7wH9UfPbFmLEEzMePdzsTd8Elcm6cdf4emzvzKJ+aAx60wh+/ROORJu9i9BnEXOphuSNO9oB4dWySIEAM/B2l9gD3mdQ+Hgpu33ma0DU2N3ccANLzZ7lBMJj4SKC60ISnMvgl8QkW70Mdkd1WiVqz0otx0MJ5Dpv0LsqtZtp0lGI0a5IeQtj8wdHCeBnJMKT2j/XfKUmqsXDNzngBE5vrkyBQSzQJ13l92CJWS+pJRCgr/HpKMlOiVZjf99rkTpViHkdXs36DbUacrEvADLbJhgVPH8FXpiIfS/Pnz0uvCDHk9wDR7Yc+EqXCJ3mEsRV9H8ijn7m0O67YMxvDabB6j4ECiJAhdp9sdLNoL9uQ6aT3uBAFfw5sUIMcjrAuVMdSkm92hhL3GfMDtv/Gr0ULjzXJ90/dr25mjHdBnt2Qil/nmy4TsJPvTImoo1yj0lnmvc3oG6AWiqgOwWJ30Hrk21cYauaDmboykIIszQi6ygCDtdX7K1rK4/ox8qHyimimohi5zM//2orpSec2WwnQ+yTZGIJzizUK8FpgdVh0j2LB1z62Lcp2nAOWVPncTRwz9OmWgWNKPIJm55fGb7nubZf4p5RlXecASde3/z52hRyhxs8lGOR14JAxXbRJu2EBtSwD3SbH7RIu/t2rru1uVCyw8mUq/kAx2rhtfjQdiiSPoY+74vgUsYLV0OO9zCa45WKZWxdwXt+vnhWLIvWoF0orKBBm+12jnjrMKePEeXjzc1QJyg1JA2vrFYu2rpQvjv+had4/+GhbmTUR9uAodGwTqcDW2rehMvTKv1WOo5mpD7ZJURyRVsLv2Eiz7ZlQhS814zkMKewwBJvGPylQ524UkcLNEs3/4BhWMQvSX6/8IHmscNxS5fSXhP8o6TGszrHdPp+x6CvyCWGgHefqpEp4Ui5DMOE5Y83WUGlX9bf0l81BAx1RrkjR0OT1k95YdBYOFdIWhajMtEhsnSBYuBCBkJXz9jhGW170hex0aUtdy6Mf9u4YEWv7COlpyS7x3rwWpSCxQia2Lee0HDMzU8QzBNXvdqySKUd1vA5bNXZjGybKhbz3mfiyYB2wLR42X6nWf94/AiOu8GV1M2AhGqiT+Re9ugE6oRcFutZ3MlhDMpj9ygfann48v5NhMtJJR0o+EfuoKKzz0tfqY5KwhMD5pGnq+P+lrydvEfmVxTph5xuN5+qJAuYU6IGGOD4r2Uo9CvjRMG+IxCycFDquluvofHYmnlxayVg7D6cTYK9VSu3RIbB5OgdJNi+irOaQLJ16dAb+fqKqa6rC9IHYnT3d6A+pCl2B5d+FyPrr5ywDLkxPh/nHMKhPQerqzEbTmgIeUzJdpCzEZom3tQ3YvBm8rQALy0E9zbCbXqiXuSjiu+2C9/6LOkKpmkl5iJH2yLAtocpGKyTTEZVb9n0juZBuTm5XiFnAcGqPAmHOvroCvNbzo4xxnURlA2l3XbvI73ly1wgKgH3b7N78VIWaeZrLZscnL9/vFimXa7ixNEWIDgqprnZlYM+PlQ/W/ti9U7lATf7LHc4PUKQJfdSoaMpsm06B1vVkUhPnh4aXGunWew/M4QHW11BPUagmkrK/IyfrL4ejK98tlJ/wyfLuoSsIPlnjmDDwYBJTrz7uA2td34vaDaRBLw/xLaBWQ4qbfCUD/igXzQo6y0mgd92tBAq+ncPoV4S9Dje7QXru+0Rta6zPddxOsc0vrgCoA59DI+htzEWXcxhSBoU+jA6cb0MNOW3wLCLx3kmXAVj0EmfJCG9SK1jF26x58kSeUFRxZfWXshSm9k500Rb7XNJDFO3//VU+URTgIX/c8sPiIqD5i6/vTQVY5y/wBn0gSmgIDYIyJjXhWD0rs7Kc8Uj2IwlrzjrMzyQh2l6IHvICxFVmTaUMKIUgYYfuiTTnO9DTN9Pb15LTsmJcDvNogd6ldmVMyZnO30NuBcUwOfRvIDo2ilsKRCwSb4ahMFuWXphrG1uEaAftNpr3kVZOtg+BYRx8XyoNpX1NU9+ICNjM3s4qzIzk5wWrXxuuc0C2sOdGFZy3/4+0qC0+OYG/VlNikJCmcj9Qc/MBr8uWzrPA8pNxt2kZkIcZb7CP6nrxwD8dMxqF2R5MllwtOPwZ+RwM0Olu1ETk1QPsWPjAsdSC+FWJxEZYKSi06V8HS5bMKq/XK4fm2d5o4/qvuiGYLkQmcxhXTppSmzMfj4vrMPqUX+MMAiO1vIReW8KutFmvqPVEzRjT65RfFAEPixEi/MPakqVA7Osj6Wa6MxyfcIOFNfkN0uPSyCMzrVVyJDHAG8EZjQapW0FwY0ssyIuIMIqW5GUxXTQPiUNp/qwuJo9lOuThxXgj77vkIh4nse1RO4T2pXF3YWWSS4wGuteGuwt0xLJHL+MSa6cjfmYc6pj8NXJ/EO76aoc4rSS1EYipf+8oWgGijtPCYc/bUQgRfbPb1OdJMoNFuHO/BL17sfoZq3GPB/btiMrazu+mp4QJpB55+0DYIfQgQTRaOZED7GjRQ3obH1kujva0DQNfO59JwBxluUMO0wb84GodYBZRGip8wmdw43x4REgH/M/kMjkcmycGAXr2oyziIJC1L0CrSdOm2cEBbNRr+q08vvi2Ftpn2Yfl60TQjcaKn7YHKwhtCrnhAvsXKpnbNBOHfRDt1+Q9BT6GT8RCfnTzyI4KzNkJXXiW4VpCkLWdrxKUaMa9oLrN0BkC/iuWjvaAiix1lLvuHgXXlm6C1PPFGnpPHm5jn+oDbUk9UpbjRj/z/89rjQFj4O4GzrvbmDRLX7VIROOp6YQ80FfhY4jbgXBNY0iisrPtQrv1+71oKxWH0lZLqCuu6ftWVZjAa9GD6EAGOfGweJ05vOlY2zdq/S6DI+pxkAiZ9EGAQseRVQ4xaKOPCxulajWyJmkbCixTMPQ2dXMhOMcVlecv+HNntUugqqCb6SXh5LpKGq5r8+g7LGOmVyux0M4ZgYs005yh+ILEyBNf6y8hbU9MIwScSi/o8zyg8/VHwyzHSQNoR3YQbpQCxHd23IHiO8gQFinR+mpk/eQBike90qSc9Y2vS+Tw4fQbOP38++I9Z/xQgFK4wEKRTs8NNhPI1NN3P8hD4KFdUyPaqb7woHPeI9uZAxoS69hUFLlBi/NqkU/FxrU/L/E+qv2cXownIO6hs+cTewQ1dtKG9ibbh6fIU+wHCc4AGfbOlloc/0tQM9QfagQAXOhtqiXmiuVXfhd5s/IlDWJkoGlUa0vgex2cGfW8icjE6CS40oVzdP0IBc4m0Go/XCX7kb/BnwqnyjJ73d76OaAxdJe/cBB4cr0eb/nuMcLxD5efZ+UwgpJVOEcDbUORPpeAhI8pCT9TKkl0Q3svkNQM3LaFyooqDKEBztGsgMu16oiBsZg3y5NeU+YlIvUEKJshMHHg4El3dU8cDxR2HuhOf0mUg4okUP+f23ZHno0K+2KEtVXznL8yrFkAJQW7IbhLD0z1h8clvmqarmHEheeWYYw/0Sm67rMgYlz8Iv7IMyfW4A62xx7Bdoj+V1cOsio1hdzLtIWsnkRLoBpTZ6ss61ZtNPpI/b0m4itbXJ78toC3lJITuL2t+36uzdJcRNpqdl6aG0gmHGxPdu5k7Bj/71yYBJ72a7rFJGTgFCZZM5L57e+MIopuWS91AIAhkr8Ce/X33ZSDvvQVw2Kxji+r9NdtAz9gpjRgykYqAS1WlfXBugcvEYSa9A3mPJVuJVaSKvXFc9kS0fpJdkaO3oE0ZUO3sDaujxnhYuo81MV6bN/m8Za4SFcjRLCaQpZPpUWLSSkkXw=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JtXB7Xmfi3BZlo+AgV8FXfZuaAzuPxe3nxXKWaJ3vN+0tZlZZzC1PkyMpq+I5uiWfI3X/D0QLi10zKwpsaOUGqYB5+mCYUUQa6EBQZLCc20/LvIMn0OpSqo5+73Ss2VAhKloc+pvdioDpoK2NfJvUftlqD9IRvSvO/3MJOkm99BCoPC4GsrMhEqGyj/fIBhbCZPgzmVfTLaEwnAK1Snuertx8lT/f1+fd5A/qXra5qvodcBvsQyeHT/IgXyK9Ayrr3j71DJwxHo10ln76GSGqxspaW9LrKXfsS7IIig4NLLHdc6kuDEfjMGb8CSy6lZt1zFTVvatUkZC4W0XCozGbD1XO0N4OWmcOnjt6aN5GxIwcWfqvs1Vh2/MOyTu/9SFbANosC7u77kjv9NbPUElSGycXUVhbfLoDfOwQNgLnx/Xvs41wDSVLtSJHF+HpXPq1bZvOyrdg8lmg5MLxJzk/5uixXEcaxqi/HbFnb+oC5Dqx1wHhN64tYqsDJ3Le5Ojd9Y+v/bzNy5tWbQDVej7rd0XdCw8cvakcD3WYbdJAm7YxnLeIp8w/zEusrz393CrrMjwLU4bxwGA41X7A9U4yaHXGFCh3ESrvCtZVveeCCEQUVs4CrQeYlCloJIbNmH9Ga8Lbpn63u5s5A004iIhRlITnGycIotlvuMy2XwdsoMXKA1ylqvEf9PvJKvw3RajL8gGQ90A2oT/US3XOXsXORvLpyOO6r3bRG/EgRuUfEoLuYuA1WFKjzQMKcmlKNRyZlpcLq2PC81EbJ4NTyHgLn2SCesjo3Z0eGW2NGAfyBYNXCidunueUCc0Xd4ddGyxzpRmhmDpTk0ozu8yABtIN9Bt3CSkLo42KDLp4R6RjfObIgyJwG6lvChBHfb0Y9d2iugBb6MEnuUUWP01VYFRF2bnRsW5nW+r7PDEOh6pT+6x6MDOVTSEuPeyki3vIl1N+YYicAGtJhj3OiBxaUg2T80hXMdz3IixOMbLXy0DIseE2+t44XbXSWNgjdRkMMqqu2+kcvVNL+7a97z82Um6nRsiYguJp79KXH08oXARFQXWtbC3hiCReP2gbNI0k82KH0WM5MxA7Rot8azV+WutyE7vt1IjbE/dABa4BxZ66qxwIJVUIWEDJFFzMHePSksm9o4bTYNe0uMZCN8hdS91nHlMyxPl1dHQkm/PHEsY/ipU8Ilk0be8p+ZIrbQh+Ijc5EIBsbERVpQ81JoDPuH1UVJ8TaHVO/ANtWK3AAvHDYkSPA5iokEd+6EwfLE1VF2ynfq7rovSIj1D7CueA/HeIruR61Wh8T3/7JuhEKDEQO8rmB8nachfSGSOaqT5af9o/5GmCYX+CZK1AQespr4BAXc3sgOHDy3lyMAyPasF6jbp4qhLLfBbgr+FYXOAzT1YRo1kAjHVEisBGoAvaku5DG+4a4Z/2ueeceU5/4v1AipVIxhdkyckk+dwP6dbtJuwvMW5Pv+LTPbT4DZt+AhaIz9q57q+5bNUYRiEmdxE+/tAsx6ihx8PqWmrh9qKto/gOYCtSy3KUDmttWdUunQLBwGmo7D6Wn5TM2a5hSPALIwRzhY+kgBzCcxniZFUp/qcU688l4QRGOzz5RBlXqvyQdvMjLU7ijINFhHNU/I/Ug4uAHebqIede+4iZg/xtLN5W5jtMdP4vgwX7V0G8CYsvfOR/6P7UBKuyTUrkpy0BhOJnyynStI0gr1iTjse8uYU1M5vUzx9qw31wrimrBXFjcMeiG1Ikd0IohEEQHvcpuw1ms7kBxTAQMSPhIRCCP4mJOn8DEygGwepV5anfeQ+bXjg+swPIVQ+krWn1zpNpPHxXpfsYCiGR+TqLzEX/SFSliCiUOIxOCu7W1oDeaGvd/rggX3lzujaa4JjTxwhHHtmm+e6Tiixk2+Yv76nFK5cw0zeXOf8PRAwr83tKoKmkV8nM3SL3JIZiuG5FoMQOVG+9+6vIb1iwN/5/PIDH8/sxIjjitGELxvOFPn3VxHqe+di0k8VGMRzjQhdRSBtJeMSXWp9khLlKSN//YKszXZyowxbG4InHGd+O594MxJXAHQpmWtnqx2EtWgvW1JZDu3U/wjlTGd7GEA03uZFI9EaC5HV4UB3ufq8rkf8v0a5mmESUL6e34nH8Rwd+btBs2eKBIvhm8t+87mKWmgnngSsz0mxHCzRGzlYILB1AoCN9tONYiAUEF13FcyLwGZ+FIghqF/3ejYqMkawg+KPMp+YrlCHgdV7WZzAm0Abmfm4RsYLkOSA3tf/0hbJp+l4nIKTCKavf8H3ADnvIB+GHK6NEyb8WQ/id0Mtzrd/L7Dba8yOOWNfxcmtAhle8hw0HxKy/4xKeOP8M6gNoEcG0ThbtIyL6519RMXJiZoaEc2iEVUsmfJvqBi68gTG5qikQqT/hcN7ILTbY/EX/smRbk9sEmmuKKUa7FVdR92BfGs2sX7MCCUHoq8gbV1nnLxKwfkRdIbZycaQyS7tj2OoTkqWsky5iUEh/W9SI21NIasULk7EP8Zj6/EIkcUWfk/upcM1Tv35qRw38/jiW8kKKELgNA5cBx+l83oAczQfLjsh0CABhu6q9SO8ZLLoVRGKe14B1JILa7NqtVKs6/+yOTZtAD/5fGj6s7c6Ag7S950o0vG+3wKc/STKz5+EiovM0fj7noJOP52U9fgc6IdiN/+Hf96sfpJUF+em/mfcB0YM670VaOxSbL55beCBtOD9jVl6RIqwTLj08r8HaKZJQ7Ju7gmV0g4lO7su2n33b8xWQpECxSMW8BmvfrG6TAG8nkkENJQe0gQjPIZifnbudGGCAt3feoPq/HUdk6QOmZcKwsbmQdq/1+ClI+KP1G+fd4PRwriDJ8NHup8QOhd58457CPLNS8IqjBpNTG6RujAbH1MGeeopz4rWTKwG+6U5OsXFteZGxyzjiWK8T2cv8FDtZ7NilUMlZqJRRiLWHFAszK8HOEfWG59DFClocjxZcK6X9ugpR9kJRTta0/UKhPWjsNfe562XeWa9Ps4+SO/+egMUIOt6VQc7cTfeFor+7bm9tU/FkF0hYoDk3a//4Z0v986uwpxejPjRZkuzw0e1hs21iQ63+0vsHtwunQ1oqzU0Qr9cX7VzCcz0ttFGIGK8Cxq4QuBCYxKDE8uj0N2mom4eZtbwq0SmMl/kX+Y5Wh22qCc+y+UPtfGVxd/ZdDhbaU4+aCi07LLn9Lue/hOQ+aX9KlbY2IivliDN/1Sw+2/sMjlqS8hySGe4Y54w26dysewLybOxPlz434Shh4AILZr+oOCzULFQ1dHyM/ffb6ka2RDYNovS0OX4k9UNn3amQwSR5IupDjTaosMCqB1mgkhEMsyePG20anL1rAz22tVrWpEcaNaKcw2rFDKfkhEcTWTYtgyoC+emKzY4YRBGcgfHHdIY0ObyqvXETBhSeACX2BPwDNQdbEdwAGZL63CE6yuKEYU/UmTUZpFXmLuXp4oTCSD1N6DfFVSiIBHUzDeK5/zIBQOg/h89oEziX9lgM0v133hic60d0cvV69r6OxJ32cQk3z7ZEU+JR0U55wCweGz9c5hHEvVbFl2KUneho5Feqs5n3o00ETfpC63FxK6GYzCFnK9SjL402l1d7KkJ0MLcxkd9A3e6+CL5gjBxJpgkey+kVqcmYFr5vEWf8hP7ytbSne4cdnOJdov2zgxgQOiDGeSsWrylBLYwJOWKvlFYKPKuM7HLUe3H/Wr30srnGNNKvnzjlUfs52HgfYpJDVWyu+eaPD0EhuONOlzp9BC2li69N5M66rw09mjQV+s74qj0kKCUsR5zboeUVZdxbydiAgNuG4ZvwtREdT9gWTJnP8waz/4iu3uoG11MhZfOdSlB+jl6io2dJoesQeyFiw9pv2gvFM8zzLiemT3s4/Uh+iX7AJrJ3nLpUml6Op76MXOa9RbqxMDaHOMhNUYJO7vAWu8t9iwMuX6EsR6th2ah477tM2VUDoIX4/ASSL/bCO1AIt4MUD9hvSf1wiEJchdvVs2LfrQWCONaBn4Sp4EMGrXh5603oe5wBco9R+IHV8k6f/7/VlOuVd3xxkcDnegL3ITYdymyQeum+wCbP9oGlYcjLEPKmTTczq+Svl/3egOoo13Efizr8Shqp8lmbNQmfRZY/eUS24NMLNi646cmq/RE5Uy81rRDyHIQ3crcw/CeHgnFuQ/KLQTH3j9ORKXYY7Aq8ASt+bzW9bTFQXPQmBY6PMxXI6I6aWLmaT2A5SYvjxiVt/QMxNLYng+Thdq7NdZnmD658hzjfp0bPJV+2xGVcYM/JW6y/d7FVA8XVDp/5o8YL7s4/nsnjQCmSyLlaMkp2p3fummFNxlVYryGr6Ap0+eYVPkvCUqyYcn0GUcqQYNNyguZ75Ldg6A4Lbn4mIOcBuSc3hwCgt6Qe5kQwHgWZiiyum+PFDzatcCuXLlXP8mfbVQY8TCwqsmVP50c8ea6dw94K51I3lrHi7pm2xw2j8f2ocmkcQ8y3guVhLGjMv32o+8S46GQ+E3yxfi7g4Tzde3RBy6Yr1H+nnikt/dwqYNwypeCkEuNeTcO5xUmSsdfrZNj24KLiix/tpBod8MfR//5imOd4tihi2SyWBE0RcyblSGHf9QOAorbc5YgzvmwCmNzxBlRCtjdE2031AODOL2xYoCH0HINSyQbJafnq74czbRyjLV6tSDxecJ6eO02KyDR1UIEAqfBaRiywEGQsUXLTChoI18xwvz/UwJaAydByBUwGo2uBlH34yKo8MLFYbwuREUq5BHjGRhhYyv69Y7j2j5mpbg+/UWeUpbVQONFGZ2RWm6XCce/LV+9Xai19j2ElS2U8ZqoSlaJC44sKZ8t+iZ2LQJGQjs/P13ejJ1PBOp1rH1WZFo0ntH0hXVFUbU2d67RKbJI0jITQGcFPaWVs5pMUivvB/I1uoZVZs8bNL2DT0PUKDGXQ9ioIJ9ehDCmQype7OSVbkPEDaUr5Eh/XhMqCdClMOyJPoMxjnxuhDaCtWq173uYRl6dQE7H5ffxi3gFLPo3Jkh1SbrSkwzklJn0rOw06n3gB31I43hAvreiE82ZKWsDtYP+CpEQy4Lj3J/ZyfKgKl4e6ZHp3KpLu7Nf5m5uOB0hMw9tNSifD8riyNZm4Bdl0nc4lvYamXiznllA3wTFo7Zf7q7s/t1OI8N1kzzi8RuV4JIM0GG8gB/SJ6BM4cJ84d1Nm5wSSGd5pLHocj7S8km+88sXoDuuCaXaLjuq8wnjIzYspuclKyPss0j2HjfBgiehvLIYEgYtZxI23ci/6PxXuBF+LYHNUArD9JxhBtyZ9ABhAHinHSx3sLGZZWE7F6MjvQqpXo0yIaAvuMw1hzEm1uMGPe3RyPjBwZHSWzP0BgzlCU7I6a0Bs4slFIpXPfWI3sDEf2kIbaC+/HzfVX7YK8PIWKgXlr19DdskmXxsPaZbQGaWLBuJOb46mWbSZI+ra/8iURdRuX2E1+SkJfMyDSyaWPFN7zuQFP/BB4n0Hgg3gE7aX4yR/WibkOHQBzKK2qdWeKlCVZ/A4/PCHW51+KdLxek0Kvp8oV91B2tDtbgugHTsTNToDaztr3yM1/KDk13m/BRf6INKVjxVxW+fe9EhfWgysWZiphprNq6cpn4Lif1zUFouE6FrLxozXB3bqQnz6pXMzcbaxNHiEIKraPu9a67LIBOvoTOWdNQEpMmJ+9h7K2IHgxG1/Ivllb2+y9rjs/vp9Yc59mpJaBU3xMPkOYaiLNi6uMLwx98qt236pCOOnGbxAgHccs5pf5UzKrYDvVFZ/+OCmm8wMm931CqccM+EcrQztIEec1EFmnJWFqWYqI0tu1PUDda0SNcUPg/+Z2q8HYr932hjpl0qyjq8D9NA9bb3jWhyFzZ1fvYsGaOI3Yf5X//VnikalJ1CAIEI6g+4a97L09rOQJHJ2gpmiN/UsJEm6afAGjIUFvG8ao45KE6whoWRUDfZqSER+gtLRwmzlIOKw29mgMORepZBKlEPdw9MwmT0K6sFV0oVwskAmdq8inMgTGVn+qUOc4+Y7rZC2OsYPNRFsxoiXHqmtx3+lYfIlXdhYoDNLIOImZ4+vfeynzL2Kubpht54pmAGfwAVMBjwfITmYXubV7teh+PDvp5IBicT8P0A1KbFvyt4aG58znqm0X+FkKCypb4cKo5QRgqCdEIM1aED29hy56CWgmycpeEp4PNjcxZRZjZfYGtKBkJwNJ7KZ22I9Jl7seho29uyQ9e5wO7+IfTfxb/fDCRtWjFuQdU/EIywvX2hnt8/3iwXfmBQ6WfBy8zMCRRzgEXpx+h8COjJd/xqvSHWcxQmbBNS5mFPtnw5+WTQS1fZ+wjK886kAHwlnDQzdlpuyFvz91cvly7i0QzNNrjYeGgNTVYp43sOA7b+WABaZH1yUWfmP64kyviOT48P55I2t+IH8rNIrRfgs8NHobkCjwcSi4SjYo0BX1k3ZGz69P39iDonBy6xNWLcyg0/yINvs1IEhPGw70D9M+UxLRpyCk5VeC9ldvTTKkzQakqFMVZYAZaJvQMu3nB0mWCMURpJKv8iWosG0E9cSKsMGJmFZuAEwfWfHc1uZn7XNpLj0xReloqOSb7doJ6LtLfoqS/b7sbxkOxtLUyP8kIGdj2p4AiC4n0Z1twOOtC5zCU1nMtkyj2HZygNwM1YrsTy0dsQmh/cNTYc82zYp4w3wMTVJDojriHFF5gVp5zohCmfRGIYUdXXObj2DE7lP8Ck5draNirJ2fxPY3LlaUV0Egyl+1/neH6i4TPQZ4bo6XNG7bKD48oEYh3d49iaOq5MUnNICW5EIUFde4WUiWNoPuAx6HjD3p911ZrOvohEuEjc0dPsBZ3uOjyOXO3XO5LfcjHQdRYaY+phDxffJX0/JOQP6uqgfBo4icIWwt3FcVBvRskRfVhzesRsc0OJn2yloPRK1vvUiyFX6PQtJJ/jEOiHQ2oadaTTls4JmzsR4wWHC+wR5XNMpCfhtcEzEm7l20SusKRAjNPbf/QaWoirg3+p5/vTi1cZyj6ukdp8T6fkIf5pJesnck9QbX+b5RICrT/lAmF1HtXfSsZsYAkr2W37xM4S+WOp1mnEjgSNUb8cHihqtq4vz4uZ9G/W+1uztFaqc27hgOQ6+LYHapEWWSQ8mhhF6wcxXYXv4WimHi6FiM8abbbx2dRZEvJJ2TOXPsUwf420glSHuQDP9/v3vVCTzCYzph6DkpikpCt8Z5rY7GAKr+jELNQbNP8C56tW3gsgmEtco9922wFyBCD+v63GBZs3WSo+RsffFoj8iNpFpXyb+rxjmvRJWJgMhy+UKDVD8CupzErX/+cNU0jp9Rz6ZUeaNkkUexH5c8ymUBMZUP3LZZVBER1Qad/S/7UrwBP2ArhFklnr7ujUJ/4ERnYLhvLLB3Tc56032tnCjfL8WAZ5I4UZZOIgy0oU7BKis2+bgTMVZC63h47w7krcXRKYjCbSBxA51CXBVMsUNSSWbFdlwCVJqw6WPnGavZ9HVQBOqVMCdDzVowngmHgH57KtGPBAFgE1ui91ro1TeDeIk9rdbJN0oqfI3JbyQ+d23qwNg9KyflHtRMNx9ObQ3E7hJ4VJkSVE2a+EKJJBl08deqEgyk/EfK0Z6xK2tOvgcivABlNr8u2uZxbtLQhMmP7aozv2jGQpOOZlImAKvhUTCb4w26JpCbT/vdd0dpbC2PuYPIof5nwg/C7iEk77BYWLwCfqdfkay79tyPPWQ7527XxZMibDp7X7YfI7UzgU88AP31ion99vQ785QBjo2gbJZIPIh7L0lvegiuoT79VHC/O9x8ipXxOBW/TydnUmeyUptropb7akwBNdUYDv54zIy40mGnFlKBBR+DeD7Sjs5e7FOIyihsViQDLF3TXM1Wx1Soq1eUBFbvmAbRF+VOX8etWhQjDWMOmisBZ11bhk49ZOUcmiGwTDwYa4qqqJf2Fhwgi7pfLy8wvCEd14oyz7dAfJl6AWq1We3hTabaAJEwgLsZSn9ZRw6Eg/TRrj8u7XkApTu7BTATaQzbrGsMghKL4UIil6joJ/D1mIcFYSoxXivyEm2648tP38lxT8awIRljJhRc8jC9jRW+b3oE8vjOYfdOmeK84SvsLI1adK498n+9yWv/JIa/83Ivaa4gBOKPFJeffL9Bi42yuI+eARJDYOqEyVoULupf0VO8dqfrWIBd2LYl72GX9Gttsrv7r1ccBDqypZMK38a2VCw60FTypdBSIM2NLEOpGSpgA2Ml/1EOWzWb7Ftu3wVWF9CiUpnJl60R/QKM42G9qI/Rb2Cpp7DwsltWAkRlKGsXVd/Gkwxx8BJLXwWryK6ONo5ImI3X6l3llQuJM8CnS9uTAn2LP8QvriHCytkHFsyvWoXi3BXkbLWuRA2yJCrNeZzU2xv2eJqWSPSHOf6EQ0iG5x95iwmIyOG7KJ8fSHMet9Fz6WfLnO0qVztPoEk/88nZAZVd7AlHNyC6Y28YV1CxDYemdjkYTTa991JjnsXpyOz9LKFjUYKzcWphw79zv0ZUl9v3KqelzThJNi2mIlzDbd5aiXD0YWJm5LA+MkjxYSBzem9ICspdJKkNGj686xqoXvfunT4L3XLheuqA1XXPYexyRLUqwKiqOLN4ae4upFdQONLkOypsD38UZSxW6Q+dxkfI+oFWsY8VzaqNvQAKOF5Hhh5rC0+qkDdOldRpzHB/iYnewOg/97DojDiK5zXhYGY1+1yfGsxcS6gYgPncx3UTjqC3nVborwdFQEjjhnw2EX9MYJlLF9pRjnXju0VtrR3RaLPyj5cFPIbeMLTzOPokNXzbo8hDEeVJBvd2jkJezEqB1AXY2ZJYJvlkNgFF0wukFMdXm1v+4REyg0Jy/scFPdCQspIPOto2MrCA9upKJXK5E8xzAueMG613ornbw9gZy/m7a/fdg6nfSo/Jl8oqUafG4V3TGsyuOSH/N5iqC8dfGqPTXAXW8jQLa/MOwDYdkUdXws3n+VVg2dejBD4F921xhTkwaJNFGlKaHpmA38U3djXfQr/9Cdn40gTVmeNZjsnHW4XSUpxBnwXE4jaXcKFFqDmAOjZuEqOYXpd5fI4ADvOKERvI1ElufO31fot1JzOg69bTthtrcqStjjUnPfUYF4FZymV19p+Oq+uxI6tnJy/ySbrfiso9rEZQEDet4ud5OAXhjkvVYjTQsc3rKy3jAX5CtfzzQwVU+AMfc5qEuouBvg9M8lrztWN6b4GGQMVPx9PD9r2Z9r5CvQR8X3ZHK9CAwFPN8oCGJRW3I14PfTQyf4ISCgJoNppYz7kDSuvH0l61Y/hkbFMFLPBg1rYj2ge8+fSzlbuYED9QMEYBXhG65w5Y78ZlE5MBw57Ezz0X60et2ORKC4R11TgfNlYv/Wt38agFA+WixLvRCPtlU2Xxr8IFymitTEDvZczst6Z3xG/z/ZVoaI1onPiy1ee8dL6BwrMpOeLi0llZE2s3W4i169aAylKkNxSF8dfsSFGZAkBZUQ2HuxeylQI63UeFtTRBIzZ7k53Go9qqRUjZ0kgOcCi9ZOpS0Og8Y2Rvcxx2XIdCxwc9gmNyJnIw8WHYz3AGg3aFdhiDLNNva+R+hkmO0A1gGXkC84GnJhEJPUMNR/sQw0ituRS8epE93t3sJftpCmW45aadEEN1NXX2BG0t8YFnFZynkPZ4+/dmCo26n1FhtX5t5+PCdM4zCqEbg8BWgU7BAYl+awK5lZL+k8crQbsC8a40kwIvnLKib/CC5uyecNDydPayIoWE3J6wAerTavTOjxvbp1Tdh+MvSoQpG0hSFIHjhukW7MdvONstD6GgN+D2bYiaf+mg7nEXkfnXdyp5dvyFor3CGjZYdE24QcqI7zNSoVC8NHjRfue63QGr6tsstynVMPcJSvxfSztXKJnOgPdCyWJh0hKQSxc+Ikw8ynXT+0XAA6pfrpuRT7kCeQ61dYHLQtXbd03yrZQ9S0apiI4szRVWE/aaluK+TTlYOTNujvvQCOsegbTH1lEG8kXPEtjNkvfqHec+h3yesg8cWHQ7ln+v6hTLv+7FNFlTShjnFj1D2HSNK99N+2xBXthLjfjqPjkZOJxUpkUFX7Wb4PInBA6bl+RqmSXKIC1+a80pRiitcgmBXEgWh5viNrqLpIfpQlvnW40CRQ0un0sbJ/D+YAI2eYgMn5CLZz/oirYCWyQ6T7fXLunn59CBTOy7Z7ObVU/5cgN75g2hUMNEsGy42j2B43x8rUv4uaUeoIGyGrSYcku1QQOfOLDu1ip3MbcyoybymW/oPn2c6RrGXtmo2cmp8l/uuOiMF49BZ5Wpwce4bIrozWr7NZA6MyHCFNwwaKcupyhYngfqpXKu+e42Tzt9voQYEvYlp7nKSc0ZmhStCnu4h1cVjQehU+9AQ1gWAWgS9xuVZP80X51uh0tvJ3sZGuU2lIE5xs2ioYRbx+VH4lTJwbfBBpmzhwcuN9+vMruRG7vYo26S3Lo9OYyxOTn+A6zLnx7L/TUKddTmx5JFE0bQ6MbmYwqItfL0UTR3tefXOhWhqPZhfuCM+FKuxaJmKnvqVQ0hYHPIXEuXfSggFmUZbUdVjFGZEMB+FQTvGn1DtrOWlNVGA17p/XMyyBZLfIaXc262sqsNheyv/J+M7kCZ9yI7/6TxtkwmywBBAVGBu4yC/9Vjj7fVrn2J8PWk+nurZOxxHr5l4qzWQX5IKE/6gQuls8v45INPCpqzuVzGPWoYiN7+7ZordMhG8cUIENQBbUMlUDRUYMTtEyU+isphr8ySUYPHavzbEpda2Or/6uQgwB0ijspYyIUjBU8EYWRotcpXDwszZIgYIEJB87w8SR9Ug5Y+aqFMaRvHmrPfNpzTfhx7gvfa4Bca8ANHZeN+tlkf0QQ2fbQ0r5QVCDBjKAnRUM9yPAid+LKaA21kQFnj0tmN/dfYxCV5ZiQvj7mWL1LamIJ37akl4SacrBWqKkkv0pa1AdIDn4AlShdO3/gAgSWYY84Uw3u3bG/VbjQNkgOuE9ozzK+ScJb9+t18MCZGHtRrbuIyBwNJqmJQo2axh2fhkdDYxEWINZTvDs6ICKCGUfm/q1+d3kHclWp6LqhFkWJKIkHAHkQZZfY8jexbrFiSosTWycjyXF1Lo8sE1rEFApkLs2cPa/RkID2smiffEx3uU6ma/k0uWmA2mwYXqj996i3e3Rcqf5oo3AofmJ7Q1UfMrfCOuj8GSwrEPx5gjyedSEpklEhIaSk+4eqdH2rbJm18PoB0wVmLWmpIU9OCtFIawmWRQsU9ybFP6YiOaGFI4Jz+xxCE45RDayu7HlySHNt8/eF/I/2hPIpcIr+K2m4jYTZZ57EV2xsIH/GQXEnLVv6JhNv8oz2fhs6EKWpWXHE5TVIu4phxeyWEZPP5HOoYj5QJPgWYpIQAufCwRTlOAVwAHhPa+93Re9zTn6JbuXe56tEfN95FcQpdJbo6jLG67CQok0zRRr/hPDM6+AHvQVyt9j3CUBZt9ePaMxyNRmuJ3alCV+Jx4/FLfeyYxyP4Lza2yiu4fSWkdjMs+HFstIe/k291o6yAWb4zS/LYuWwekNH6vy9Mafm4W8SyA9L/DpQMtFmIvIBY2sOaVL2x+RICex6SppUbrH/12yYAPGExYp8vNBauA+vdv5eYRVtTnAnkmU8NSxeK5zFh9lJFTn1U7Eyem3YoFBudyeCsxJgchB/pARjZsMHc/R1ibMdISxU1D1Da3w2AUwBAf4ita8qvHXAAHlpXv4UJt4LOYN3L1pwSHYPRRftwHntabVopIpcCuR+swDErQjEpSYEMBtbJtJRiWwhlEzAxctol0eAOeOkZJibnTEPtdv71iyiOR2J8fNFPqA+xn4WQecuCIuid0J8EKqTVgc5Hag9Wh9aWvNfHN61l8p7/e+M24wHJeY09lZUceZZVWaQg+hUig3NggrPT1umO0beRp39/QZsQmSzjlDvB46vdbDR/veHO8vLoK9B9LBQ7qOaY9Lrx+IWkuagYN44a4IAhgwNoFUmRBCOjrsFLTOzjdmpxColiRBnlGpfVOlfmPDcWpECYCa0Qmuc4bO+6U6NUQ0wNTAzOnK3CPvubNupV5/Eq9hRLxj9wp6pa0Pd4H2n96Qo2KGd6fJUisHmasNWkd3MRyqfvhZ4kvvOoymEI+httVAyD3z0Ag/tWZdhP2wnb6dcozDq15vX2I9KrPbFCMJQr8397ucVEYgreGB8PhxlAyM7NcZ+7CdyLqAr2KP9XwO93e29A06pO1fUoRg82UFxxGrkX6AKZJBn2RkLU2kNGgmWaD6c4W5z1BSJ33vxLw5vkuYo+Si2rnqUaUsaNKBo5Y+H235kRQAwasZBcPenXeEu5Y92WyQcn1XgU+nyRjAK2jlcApEEV4K/1KIldtMQUPbk9WAqDvhWAoAk0Kmzd/yckqUEmeWTtt6m2ZMMGErRwc2hP93CVUhw9n9mgU+adV7h+pcNWNBM+aimEhmc9Xi5AphGjTKCprES5Adj5oDY5rHWjjv5YRCNXHQZDnY6aoiNR1yYhMl1jlIO0ve9+Y2qdfjXylY/dWv0QsyDGCYBtOqUblOPiZdgGHF/2chhhrodfVR1RvSugu8miWGcXJUh4rJcXmQ+5f76yGL3adWC618Jd4lg0Mkr6Nq/RFJqrZ6rqtW+xDTkGS1PEtXY5sEz+o4yTCCUdOxKUXMYNpJc+L1No+NJvCAw0Xzy0LIsKoJBMS/4Hh0gvUTSHAvEOO7+AUREpNOsyv1z97bTOAI2ztJygD0OECtPIamFMe25Q2E83KbBytVt6MpFErDIpwmDMktGaaG2z0ieN57cPtUbuIpmA/lQeMoAD8O/SJ6s3AAZgD+CoekYMkhVWs6Y26YfYQ71BzSdTat7Hh9hw/W1KaBTncf8MarmxKnhlrcTMQokkrLPyvp6n+PCOWlg2os/qUu9/mg9/30ELOiMM9tMEz9cPpCZhS7AJLsiK5Sm1znB32d09KT3hIGOehLPvJaFusPpKgxO7CUa3lQQPnF66XlL+3j+GjtTFkdQ4aXvqe9fPejuaB9o59WSI1Bin0x2S3V0M8wlg3SIW0PfFsZiLQHxQK5DdwX1f9tYalt/JIM8bNB8xbe6vRmVeQhbEZmpokY24gAqJ+R3SX8RdovFmb94O9xNDv5W4pIoA3A2YzYA6S/4ruIUfcUKGb/AEiPQ4YJ5D7ci+Rb4NjBhL7eEdCgHoHlbIxeIuc68fhTzFs+tsCbr97Cj++R8LJbQwxgBQ7fq7Q53KPENQfcG+NQnEswDINlVXES2AEQlnHLTJZQFAvzgHk1kfu+CjEmbqv6QPLRNnGPTHf8YrNlBDjc/URKWL19z4QxruEVGtSnsPZdo7yjsXeQMX6MIMFBMR909urmk4UVSM1Keh4eh5JHcDivIQn+KRZDJPsfS+OjTZgmJCTurje8qem7qAprR8PFRaDFu9Co2az38x7qV2WUaoDQ3tsd2TgGDyc8qVBjreslK5aMY3qiURqDKYRBA1+9R347UGzD2xrbSWjpisPqrcbSMoHoDNyJItp3YQdjPVpIG9wr5f8E+KTfStL6L4Pi5t9lqQhLxJWF5mZ8wHMEE2CUK8BtA8+j08JnyBOS2nmfctrKiJ67Jsa3dVEQATSBlqNzAr2+nvbGYOItvk+WqFtv8gWJGE3WyhuZhEoO12LBSCsUWSW5rSHB+XOCVnggnmHKZfBXp0xgztqSORGsOr1WKvzWrh4EDDhSsO0WQihbY/yOLqub7RViRh6ruSt0IwsLc7HXMPncB+mGIkFsXhV20A72qRXZDE6y06w9toMUPHnK+2g4V/9Gd+uw3LMjbUABfmPVrnveX78Nn+vZJpNaag2lIAkp130FLd0kBi4ITFSWKS0+Z8UEzwDuovKyxGd0kOFdA1pNsW7j+y5vjY0Bcg0ZqS7I4amjFiCWMmVJR5GH+J7o2LZZ6ABHAx2fNbjVGGFZOpsetC3mXAPPQ/wsPLA5L0UTPryTbi7l9K0TJGvLvg47NZkPoYpvR1E+ETcUE6dSlidSZ9pbQ7CmpCfNym9wyda18VRyEDVe6Htu/EUop61b8DBt2uOrKpzy1oTEEZN80AYwB6QSvaHDB36Fuk6LEO9WN02+6aZprjB6kYo4g7jw5pkqrNbZell7T2WB29I5V1Sv4izzOfZ0fKQVir8BxOONL+ZjiMAqyQqKexl3dKw06ZL6D68Xt7qjxIxq1xgPjCUHFrAFcrxMC8NOr29+K95MB44bXQwE2srr541GoKukqaC94WLgiEP9HUyjcYMmcWt8n6GBYz2jEFZ74zPay2U5V2iSMsBBH+xj7Ouj8lWTQ5b/KLwfkgZEtkS09tZ6ob09TYWwd5cUY8jeKubxrjqVFyo+ibaH1YGW7jntGP7uK34F0bb3xgfXPPTBjIrmg5BArizgbZzJYKw6TZmG0XqQlMC2fkANcwfktIjj/1a2sv8k469VgAQJspu1yT+UhZZLwHkos/6Etwn+QE8t+lpjZo58tsmKyrgriO4SeiwcbyfJaJJ+eHDwnp/z8jtFmopk/HgVWqDDKBnuACVXJpbkKsYobi5EmO5rfOZByapEurtCC2LjttB90tdHxIZHmt4cZOz8wD4fVyhaFoFWkYKSRrQ+wkxUoVH3TZeojbOG3PBO1bD1qrabzw2jHtMuSakZAj0LVRpuL5ZdEfgNTXNBNYUPtFGJLrYUGo5bK6mBKU5wLFtpM2BYWO1jW52JyE01f3J1XnFvi9mqSpZudYZnlLrkzYdxqUY2Xha6inThlYIapqfnUPiqoqVZGEXqXKeSCK9Vs4Gjfo4sjDTgQ9CDJkj71aCKHOl7Vi4syIA3FpXQekIIQ+HgEgDR4JeU3Ee2XIilhwIDRxCdPOcYyugjzySJPBZOwUtGoskkCOXBXsjOgwZ4iysPT/2LbcxeCAy8pVvNmETEUSBRU/0UEk3Gr+0itKXyjpxDP0CcjJL2dhhYZH1z8VOrDAV+VTvYQWQlaJc3TtNyVF9DTbFxrO1CJvVN5ctUiu4C41mGr84eXOiuTK1gcvEt+EqIlWVN1fiiF1hJ+QtRGMJRAXl3ZoPd6X6YRfe56TsqccxQPtyB9NKlJakb9oEBFthK67SwwRDXW3aAf349Hm0PsASbNcYa6Bt2y147c/pcaQBwc67mj/zG9SesGx/9e7fm5JKUdJAh6glbhcxP0UZjdnAvRMnu/NUWHRzfXK9OLqQy84QFdVYK6YpDeb8Q86xcEdWheq4GFYyklnkxnR8Fjx5uIE7TVqd1TLSNKzqDoNMAUDyIRmSO0TtsHjk4i/LleAalH7MvWhSud1h8uFYvSMCJfewlxsLTnGOSuWds061kGqF11BwwsgQq4dOkptsdZUxjbEdjtfi3QtQql9xU+7QZTnpJFi6EcUEZzlshq9PRj6yypOhd1EqBn3Qst5ZdDKA6nPWjzrxAh9/v/zGPl00eRuxwnF3jiiYmMq6a8KOuebGTSKGrAOMHlojInaEqkvgYR9AW4ZeBtEtdPtSuSzCyQg7Af3G4vGLzPFMKsm9K8MiwhjJDa4hFVu0VmtuSMYFPBJF8ZnPRXeMQhJOL1xLLFKr3csmLeJpz60UXsJu2C1dv/8XzFb/qzBtwXeJykAt/boZb46gBxiDn9byD7ciiJNgCWuOAxEJY+xe+v9L0efNTOdU4DpZV0jNRjwZx+ULJp7F73R8tE/oiws+15oLnDizvo8mEYGADEiGFY1WzLLunCIE1Yp6x7kAxVjTDSLUcaVIp1L4hGEbx2Bbj17hsnloJNBMBKEREjcdQV2rKulPhEd+jo1CILDqfxMrFJiqEDcpUROHLtSrrDaGmMONfbBt8k4EhBiP71zp4+ykQk7YQ/5sylOd0MeYaE011z6vCKjCgHur9OE1eC8cwAjeAT8iFlf/8VaHDJdKlPuEIgGIVyKwScIzV9zv/T8lcL4YgHFOKciPCQbRgBojfzuzULzQvO99ZN5lazqSm0CoGpp2zAVbs8lri7n5mJmz2wzIjWuZZzEu/zY1PgIPfft84OvLmL1sIH2pnkKU/anm9evRBPdxjNAM/DKjISZKG/9NDWJbM1VBDbVBUlZSKkOUW922Rgb8FUYok6UPCZ76j+mY0KKmx6e9Gpd4bxKPW/SY952cNndpD2Apap8LAQjFvdn1Uuf5HM4XWVr3bHlWB1Ronuwwx5TSuiZi/tyDbgwur528FLE6+m+7HhdzFf4bZ6pLJ17ruBQj7DZ7Gx8nNxkumfom1qDk5ggmnPNXk7p6tjaoCuRqQHR9fMQG473M348B0St+okfU0PCArK0X/Mhximcf71FnE9bqGSddWg3NGZXmUNBMdY1jFKAnU01StAtQeKKCwHDi/kdhGM6vQ6xB3qDtu4Ls4FRx4ixBwdiQw1KGHUIn7NiXSJowjdd+PiE8cmpzDz4bSUuV3O19Y9fkhMogQ6IBRzjmfck2Kvk6UqBS4aWuUqcUwtf7tiQkW1rM0kK8Lc5Xkf/JWrQ+96SlRaOnrwM5krckgyqYAyPBK+sA4lxZe6INStTMzwB7D+4kQQUw5+gnCtg4P27CUAsd6fVxAsKVlkLu1gNN/2TbbqvI0Om31WoscxfN7PqjZMELY9FK0nFFCG+QzmnndOFVb0U37QCdIQsLdiV0s3m5nj8Xwbsal7FlubnyWFEJ8F7EIqaT+pBbT1EkEwTxoShtkBo5XxNmNXJol2UGVta1Iu6GmfrUvf02osLjL3HbPBe7v9HHPjQxsAVdugCBnDv5iNovfhw2YoPMkOWi1t5YQQsko+EqEbUfekeeAE23OiH0Ug3+UvFaBol2ISHZv2+FSA7+szHYkEcLRVMArIwq8fuYy4ZIrxPL9UEolFrCc1iHpqaJw6exKcRZXZKbk9zFS0LLP0rou1SDqHZO/kdHxIHHLocIq5yLbgOtXjtesjrB8lju1A/D82pgZ5Ml+j/+fUxZ6intIkIGalAeOELzCvA5cYZUnyCHhDHMV4XZOMD1dx9FW5VP+fwhUi5/NH5xpJQtrFVTf+YFeFfeFjUYtMb7/8rk7qSvlYTl5VHVxy0Riy0OkEUc1Zntzmh5b7jJZCJRC9ThJ/oUuTZVthoTwOBd1qRYBzusPt1lAvKKdS3vSRwk0YA0Vsq9svoB5PZ7w+SrtCi4reaOPnPXBo6rg9iFEksF437yt4JzcZTRWvpdlgYufRDICQ9Si+E3kGLPn5canNiupahzvhCeIuDQB1ODIeBwSh5VNUT2vtALv7pqO4D3C+3OErPK1bKNp7IpCA52LndBoFHPERoSKMA1+UatBb6dD3bqH/1jm9Qspva/OWSSLb8eannSsyCURnqAqiFq+fwP+neOevCGd3JOXM4FeFVFdufvPNmf2390AHSaEYYoTc3UZUjwvYmfkEGb3gmNAVt01/R/2tWvCl/hr0po3QEsrcSsuSbrAB4vFwLVMoAMX9LG91Lb1XMSxPPcBnh91riaZy0WcVajn+8wlxy2mqaUgL2wyg1njbhCxwFt7ZdybpnfrdjeQd8W6/NHVbtB8zMQs9hd7CGpXf6CFktVUHCBqmUP85w6nUijFbG5y0lf8ynSugYfy59bXS/m+Z9obOZDFgCc5y6VTuzKVv1I1ymyiymdVsCFbE8wTH5bPNWxLGMv1Z3uKYj2NGYadj9rNb8mwnf7YGaDpt4dRoMZCjYPpil2Ow8aVQFGVxYjoza+ZUOWAq7Sp1pCBh2zig8ZxLZTzEghfs3t/U4uDjKWwXVX6AptsGnSqmCPl/StVE7mQ9qDLf2vCNQWJF3wsSoXspa+EezUCrNekcgWew+m4VmFFt5MxW0vUZy7xUc1rgIzOu/V/OLYWQ/Nq2lxWGCfwAMInZl5ylq4OQM2FhrUO4Q4AEEcDZNDdWwXkeBbJIz+PwLNRWAcOi1I+v23t0liyLrrVn6PUtB0zvxv77Sz8/n6gnmTnAcRZF6CPXlyBFa6xFIkraZRQep2aL3ZIJfZ5fTS49D8upNcbNDhSb+3ylEoJWy8euy3sxVShmlN9+yVbp9iPMZs4f14GNtlTMxhbe7CaeF50EwZl+x4LtxiP5jRWIaGftj73XpDC677bRMAcPaP2arpbB6rMbBjDXE8QkhClrq0poRV9cFP1w1hlqVjG7475m/CWYzkN/c6mLWmzTi422T4o5hkXpHLIblF5zOEVgf6nUu4IKK+DfC9oK4RyT6sImdtiid3YhZAfxfDlDajzD8DegP1XE9KUsw8U2asdAc7GHgkdBCg6jGV5FMuaMO6OHjEJoATr6RjXJJeNqOHlT23B9ZJUGbORAFBwZo4g1TTeYjpNRYOQas7XIogoNqzsVts5r+/DfgTn9y8XJwSa04Ic/CrwhTtM3GitaJ/sdLt6MMYHm6k581TThre1T4cDpKd999D+k+3bz3aRqVhyAb9RdsL50S2Ruh584AcOz6xJ9xgq/NdxgJu6IrUZzzq52FaP5CVVLClvwV8uqA/rvmDGW4DiW7WBXRwJaB8aQzroqfBWfMqBJmN6wqYOowaGfiD4HYXwc/MkZ2D4hNm69qngnTag7i3TJLlLdKli9G18gVtGtNxYOhnY3uFJTo3PnREfCZ1HBcqz2Or5/MniU0T4FN9NBv1f7LC2RFEdbcvTOP/OB6kOBTGZFufZCHojluJs6HOC2mf/CeqAHhEA/f3TwKbEFVKSjcwuEDKaS83yMPa7xDniCwd5Gto0yQUwXDIFYMoRd4Vx+2vPjEyEeDhxTxoPC3vLNwyR0/9IiryaEmmmPgP7m0iUi4+ZOCf1rAtO8V980XergrBbuPeXh0wL1Go+FameX4p1l6XObAelLpFPZWpUp4o7fBVY1FLxbsh1DO9e71UR70TYLtEtmNF1C0uVgZivuKreJo++3Uj+P0kxmLXry1zAJWpzwJm4rXoVDAqWV89HafJ9fEW7rAAL8Qrfn79zu+hDSIAOyBfIBDUBAZplgyx/9DWyy+9feDbYiXISBGrN5sT2EZOj1wYtZEBpwkuR9D3LFCbKLnTINmquRTOmUCAS/cfv8Sk+2RF3YmQQpRJ3YWNM19pawXXyutQ35lfcbsnhfQh2gEX10OlVQ2aUnQVazKEYjeKLQpOyPTYw5UgRZGAv05k7av7HW5M61PaNXyH3bgOFZKEH9r5BR58F/zzeic2kDJceyfdBVt5Bvj/9GbP3uHmt9Qwu1ZNEfTEcRf15Gym5svDIurNraDT5essbJfeAs+Z18jl/Q3w76HT2WJ4jNfb31vsLN+fsuuNmg0CVob2urnrIWehpecjuTthGIn0Ou0cxDcDmpjrgVoZ4gzZi+ySkwhWlIJUKMwj3xLtNJwxcQ2I9y6F2q+BX74ZO3wPHO3t/Yewl1TNCFtsMwDq5+aBaqBNpG2im5HZFjaeMcacRsgaVkTKcmohbIAq1wglSK8Tges8aFfIhXss/V+2qX+rfKd/YwKIYUF3is3VzdRUmgMgjUzMxG0SuUaU9VnMUTy40oJIsMzLecD2Et0DyzTmaDGCalKloyn/Riyj9zI8nbeRQSFMOAOHsN5ItXjSBJ6OIssJUPkEcQgRP9S77m9CGYUmCw+s8mnM814013Fk2PRXhDGFgWvron2Enb9/Y52YXUjbwA0BGV+nENmAEWsuYLwpQ6rwWVC5eGClXR7P6ksIcbSQi3cq6qZn1uIMCgvrlQlpp/H/jmXV45COOm9OGwhnrsFDGU8a3wwDjxWREXCnTpDArarA+dbAHHdQlvR/DVHxcfGZjznTtCeZhhVzntS8fMRh+yHd+CpVXiEc4mMxDTWu9j3yrz36f5aA4R08NXJh0QOOTIMAjF7FNia5vVpxniYlaHWJzZnoKVNrL/IAWy75LxP1v7hDJP3ddbtQF1/4e38LX9EpygzFSGh9fw/toCkvYA1+B1+ZH1GWvx022GCjLqZjnwYVrP7FOxLOl+zssPyRt4z14Bu8OsL48MeoyvRClu1d/KxRdW5s/JbxoJNEzQxIrguZqrHLdKiCNx1YsEztW/8BCwbku6an1REvX4cUZKKWzqFvn4mTQAzDpyIVotnSDJn5uuUa6OWyzsZNbgb+ujBq07diwMHF/OP395vjcRjjlkBgVFXSGab8ZjSTyP1BdV0qYkshgoRAVIcKhGa9Yj0MgVEOIRw0cbMs+kD+RsfnFRd9tESSO4471nai2s8dlVavmkg8MASd/DJeeYd0qDX5h1DYldi3LZR/pdGl+KgfyYyGbNUxjbUPgwp6NTcdqVIxUI8iyD9O1q8i9WqSJHlh4hNn20a7JDlVyjd53s9Q2B0mbdIbe5+kC7QsBjqwNEFZDJ/k/zjBJYqLAZ4M1RchSTSzyfO2O7ujpgBADZzskT9wQWr6NYFGRcKI0/f11p/irJwHoZmuQuFR58semsgfQevrm8Jfxh/U5AflhXjhygv7mfR2m+UXaRuTANWr0Ags97k7R88U6PrDzZmtnUYPYpcfrp8HktY7NRH25xj3r2wadN8/xnVLyIwaDloXkKhxHZuuWYGi+BzmmAzazy9BTJurOy5sOZdOVfNxMwjFGh3mEG49yq0R4VarXibih9BVy7uXe4jl9Uh8/i4TLmKUeVVC0zm/Mx0XrCP2GMxFN18WuAUQYktw86+v4J+s2A68C81xqmBI10LooInD/K0g3tjP1Xqmr4RmRppnTWTY76u0RlW/J043WOds0Ud2R59CBQ39DKHZ/6g461GJ/H1TR/DFLmNOqdXTxaC+QmF3ma31N83tuNR7mRg9Km1KzvHtBtMP1F+S8kqomgmD7sTky8zXzr9yq5S7+LRrMnHtGeDnhV8gyRWswE1zCbK30b+JfdTwc8nSk1uN4BXG/Y4Bu3CitDe6JTKtn2f34wV8fZL7h2ZjbysduDNuWpTHgpDmRKenTkKI77e0+KJHIfWGOZAC9IospqUWne35Rg+g2wt77nO/tujsKXR2NFk7TnN4YVuSSThS+eTGbkue9ZmRO1v2gX1doV49OEipDClgWQtu/rkE4xUJtE8eoHNZelYfqr61rYYqqHSKPSzTNmyC29bnDSrRWuvKMfmS+uU6furJwz6kcjid0yj8K0UQvNYTBxZPfWaV1VoE8Myc4NorgCL+k3sWNO01UO+mLWQgODMhFepG1uyA4gWhkRD/O5kT9cjDinqLsAGaGc2qene2e6ceJ0Bos88FirnEAQqyilhfblWvxhRbhC3pw1qeZwtOd8rGG8C6JJIaWB1kmy/xLpvLAEqJCq6Nydhla7irjI011KOkCxIjMNvFejhCtN4fPa9odIPFyjbkSABwjdMTMCd6QsYzXfgsrLouutGe82dInDd50WUpBpq12uZnKjQqnrM/bKUHVTpwr1d8hvADEyfbyCbByGeU2retdDVw3qg9k9oDRFX6kxA0iO3N8X0PQzaX1LU4GyaHIAFAnyM83mQ2xp8zzZ+udmu8hN6s2VFzDPGrxOCnuwcGV9AhTD71hjemIUMrEYqAkfh/2EmLzcK7OzWVP+XTFN1wLHoXfmFHMHMpr5KNZw06YR+AfAsqHxU2fjDbdFCVC9n8pcrlDFC6MR5ozhCIkyrgZdpqSDO1O8sMbmvtLt+bMIMGDooaQ8HHFMFcE/ZFA6Mu/YTL9yITQb+bWXyhr4tsO0wRJRERUbXCxcYV4gv0KEkXnJ53Lob9ngvsQyMVJzDnJ8hncR94SmzgBYRq8MaDC7l+HDfbVGrfzMmwSnksv9xXtc3dZhpA0+Gn4QJ6YkVBN9wsRmC5KeTrKFZHcIjX/WYShLVrHxi/O7x7GTFV6OO6HLFKrZu1VqviWsMQELX622fokNhw3a8JHI/raM6zaro4/Iyj4k6/FbABp2gLATWQjo+2SDYhh0kmCzGfRo+/mCSuaRN2T8B5HE/CaIzdWp/8DEILz2lRHuXXiIMy5KXqY/FYPQogYTvPQ+VHl6uIFyWz3Z64sNsUaf2bGxjpb4pJB7a869g71igWlI05w/uUpWf8VSzw4mYwfA3fPbIBRfRljOXsl1JBcalH/tSdoFofIIzgSNe+XeI/yZhTmDPqsU7RHosmse8h0AaiBQ85tNG/wLGzuFsKDnmhGsuPI7KPST5UdTTDA9YTlkFSNhNo0Sgebn8P1uOBAAoVWgxGACuqFKjd1lVqdp+7E2VqO0JYECWWGuRsz0/p0dNnCZpv2CARZa90dPoKUecGG4rxZ222sz/zOEQPSIdrOhg9CBHyUz6csPgA9RAvMnJ86u3g4eABLUq50CbNgXB3v09mJyPJu9ebnMcxfOT8ClJTb3+RT4s47iZU87kiuftH62dhCq3YdlODMpzXgVK10YqrcjaZ1aGkjEHY8Ocl01Qa9kHm+mUK+cInIFD8qp3wtpjhnSYoExd7AA+HRz5R4MnRa/zkkWmSBebjUp5mi2upoRXyvU0mU0NccRCSjeGPQM0vk2dSfXC8KGgDS4oqbGoja/4uLiKtQOBlOjDEVnuiSo8l9mcPbf5dVHB8qbKN6ZQKGZHxwez82q+223onlmmplDBrRj+wEY5t2+bxSEl1UXWNPRxZAHwdNXojNcKmzewUYe2em97Ns06S6o+LZ4h/OVd29c6MgHz9uVdSlZ8SZxN5GR1LI1yfhfJmMlK0HwT23X9xJmyMqHWhBn+4NArAg3hhiv2i4xEdonWkhAYh4NUwc9mhDDxIPiYJMb6WG8X50g0gfCf/CyqOr6pjFL3FFI/Uz9EcKY1/xOL/Do7lNNZsXNfzWGSsFXda+ybzl41ttnyzYfau9paOUvmt5IVkOxd6y8hKMy+PcVqtX8tLxegSKM2QZwdGB7wckgsUwQLbyMiq7TmZGRHyDbi0XiE13yAjPSaRMVSCo6uIPr6pRdv9JIWYBjN8g/hblFqD7SbHr2Yvlz9FIn9uxRsJVRCwix9zzttlDbi5S+t4ETgLaajhaUCO4BNVLbOA2JL2LE1jOSJeNfJ43biGb/OFCaosLG/Sn/hEYxhZROzFfibQOQuU8KZbVRWlz9xaPPSO77jdUfD4G56VOb2Lm9jsTuyL7aRyY2VzGZfIxtXSlrmYEPwb3VAXQZulVgSX1uJff0ZgVG1vAP7hwrFLSLd7kCsbT1FkPHigKBJvPmxeEG+nOaFmulhYHnr5Jyivm/BS6eXyMBwE4fPeoK2L9Z74xVH1CGQcDIZjWHZJ+CIF9dhxy/DCGQPA+codE9qMuNhdW3xaXX70+0HyYkcU9qrv34dJ1QXC6TtfQrHNzIfoq+AP9sOj5Te3+DcQfNRufC4hLwogFQ0Xsx0TpOzisEQJLL5v4xnXfMpKJ3wCfFAwme9qlVsB22BosbEGp6neTKI5xnE59rgcjUNGeCbs44AJT6a2W+jxhPU4sULfExKqF5RMwbvw0GhEf/btLsC4TfUsn8e+koMPtH5Mkg4OpTVmdKi9zGNt8gd/Iy5pHDTSn9cGJ2IZW8e7eVQuS1QU4cA6azOBKVnk95E6+Kq+aCfuXnSKSYRqWtqWrQxttJo20VpeD4D6pHknMg4Jk5AbghBpddb6irioy0McX5ozxTeR5tO7ykIv9FlofRdzysN6yUAito3wKrxKWj4Fpob+EXNcRk1QjVU3MmvPiBiIY5+nNGFKL74Hsrnmfb3xAJLtB0x508FfzuU0pSI506idylMxuNCd2XjnQSiWD25nu+jrLbjR+bQN95FBRSUbLaxOVHAoY7MJLqVTBKqyyX2JgLv9fRwk69NtF1wpxmO7dgEF7dObo6sOtPLNYlnqUTM72Ek3sFNqG3R0JJwXt7u0xmJglhUIb5sk2Irmpi4RH3iZ268fw/LcuQ0hdje/6nASXN44BDLJ+NnekwMqeQQaoe1uI0uTCfI4vAQHIdvwci01kHJ67rwHX675tvGwZbfIduiSGAINezGgkFJvYzEyCbafycc+zSb2eClLA2nlTNvunUyiNCsaxkpn505UDXIV5C6MDSmApevxaJPnAatLPhjkVHr+djSi5hAcgFCEJAOcwCY/nggzZu58ovK3ykVylTZib2JDDR8SxDg+oUkAFo/xu6IoRjWghxRhUGx5wh/EVpaTY6LG92Cgu2C+H6FUJzQdIrkVFw2L5qsTzaQ3y6llkzUsLG2FvaoFRzbMLYp48aevD13BfAVTC08cN122Dty+SnV6xkLAoZu+n2+LgYWEvZF0XlxHNDfdg/fIQqGdfOH55KQKH6mBDx2n/N3YIMpSuPaZ4yWBgCifqAOcmR3wUJrnPB0FlRn+Im3v3V1wohvitWSO7SXWMfNx6RWSTj4fiMsL7MNhBpTM88bVnWPSMv2xu7NNkEBfpvZ9fHL6/t6BU7R/9b+tUV7XVrh/lNsmkpkjdFwFIVDBdaxOokyQ5+DQow8AHivPflHtbDYYE+eeX0lMnwuvRRTv+xzVR/h5BPa07LEnKVVXvlFIBhURRC7go32X7Fz7Or4g85R2LYiK0hQUNR4zAIi97WzJGqXu8ZgfcOOjsFNf4paBtiFM9+2d+Fxz2gSptNHxHr3GrkXwwzj7EUot43NPusp2CP1GXTDbvwNzLjVoYjAf2bm42M6H712NJOGx88y5ufJ17aPiQMCDC7tyttSqtdq1qYQgF1HbEZV9stqrWDMyyJn62mc9m4qSO7DMjGebwWQznJKiA26f4jU7oa1JrdlbdpC6xR3z3/01t724a9a0ClAdS3rFKRGSbv/qZlqFz6KiXaWIIuvfZFVwUIZDadpNHV9yIOGgpvyEz6m6wYhe6FVLsk+7bBE+U7UCHXmpKIJTHEzLoAlrmRvqzsmz5UiSNv/rXoofYRVsAS4SV9KHPrs+Snx9GTfbFLKIS0xrNRNt4tOAdcbJBAhQB0a/NLWdQ9fud0h8v98Shqnecptge414LEbCyhWs8r4EgAdavVr5XH8TZw3dOF+1px4PWtVHcuRbUwNUOx5zjAkaBeJGlBg2daNR/gZedD/olrme3lQ5DDUZPAw85GxJ4oyuYPgHCdevcIHRy5tQYhnZ3Jz8YJL0t5UrBhOOeGFj51ecZca7pOBiLLu5cjQULs1bfzpc9YJFf5aPY/Ys1XSczMhOxxIXQIWIWPFAUBp9dtLYZkLTrbRUqe2TaDdJXsMBeSsDH7CsDOF4Eqniofl8HmU+vNMom+9lDgCT8RaGhlxGefAzrgQ0thJbaUEyvMtMae2Yq+EHQmDfciszNUg/fDRBFDtCTkLIe0edeguigShKlzvvkczqGG+6vKbaxVKNeNh7B6bQAuMiqTe/p5r4Scpr0LGgt6Wz8SsjuQGbQV3/LiXXBi2QJL2OPW7UHky+pNROXeJvk1OrsB9y3hm8BYsb9zsgMy23fvqzRU5dwuW6kIJmpUk5/noOEROJYHtAWvlaRxsxwVH+GAoQD0WQNQEnnIUAIJG5ufo7aofrYeRTh8sG8zBz7AKM35Ojk7/trCDMuiuLjNI0PaHntPHeBRK3pp2wU2gDBRb33k1yHqXsrCnD47y51BgRYmfWvHBtXodDXo3j4SlvRdt8ufFmxZORnPFnJvG38/qp+TdWtbF/MR6cncnku1JwwnFCoDFEHDCfSX35S6mky9KcoENoPYThfHPOHrBD2tEgVRb7wiDdo3/BKlRNSS4mC1+YIX6HMrxmBFfxRJjEMNlDJoPR2zMQyzYUWnSpwxFytBLXh0knPKE8Bt1DU2E4cRob1a84270e0Wmle8NQ41sd7OQa/XcqS/x/lW6Cxpy2zuhEbUgkoMyaYANQ4b4YoqomHWrqNS+cwUI1dCC8fx84+p7+Ml44ULMSUhPlRclQ65JAJxZqKSFSNlYBVQIi/kTbFZMdbtSjGOhdAVVA9K090Vf1w3VPeEIbczqy8WeklLGYDWILTC6DyShWn9ZDKVBtWbovDEdOjnvTRIV0TXEzLUJeW1c+PwFcTcovJeOS+ekO8/vHkkq8YuV3v8GXQOkwGXVKbjZb8um74lbFEBtLJdKSNznhcUTLENXQfTVyZ/k8x9SmTRKaItFHP9IPMfr46n6aOpfUOHcwaNZD8qY9m9Prns5Sr6VQDHLq5nVzWHaFX8H7MScMUxm0Pw1k5VUWwtNpztYmMC3ep7yRWh6Dsfxy8aGmrOFs3Hf1rIuxjrnASj4XwFZm2XeMR+cIrNsljHFIZx+grcVfsU5BU+GUB3jf3OGSSes5fm071jHFOYTh6qmr3cWwzUYe43ve8DRSv38Xa1YaLwP6weu20HorkykTZT99QcgR5FufpBPzz1WvyzhXCcWX2x6/hp44GeLA0VWm515OzfdN+OWeopzkD6BAJevRSJ2xELEFtkRsWBHQ0gfnRI6TQUZxbigSzhca4h/xhClB/Et+DMwcziBRnY0lTeltgKaPl9++KSjcKzT/CW8Crk0AMBjbvg+Vg9cd58gkAiOv2f9BfseD7G4OYYP944CR1xB8ZFupLp42bR5CPH/dTTSt8IJqqofmqPb5lU+8YjcjNqcNl5ktHBZU4EOb4DJeaELxsNgcRFuFL036N4X27bCj7HxSmlIAKPD/3wzyOl3jCsVRI64O8+VUsfIIs7MUmmnhE8ZHaihzOCp4mF0xsw9Di5Dle//xHzHzdlmXdkWWP8rhFjLouevtuknKjC7G486xDuX2e3mCLw2muKlP7HB+2dRrZRX1+fmP86mwTNfUQ58Iw+g2xdFgmN8B36mtQ3u6jzVJVq8F+D90xk96CH0z7FT4faA2XAyFPUMI4XbOh6BpQgP3ygkioiuiULxCPqKros2W4vfdPiimQpgz6z9wX7+Tk5o4lWeMcKvbCVZ/9sdiaA/0ULyxtQI/6AtT5/n/FsTdw82z1dN4+kdLrFHQSspYdYC/ABJfqrK73Uh9MKQy4bLkayWKbCU6rY9G6RMk6+O+97d3/r9LeCveLxObx8TSho54rfhndcXDXLvmmrC1nlIca9AKcTOlIWEkwrDr9P5GwRHIZIrk5honNiaYvpkCIBpHoT5i181JxGrEPpu2RygOzBYy12fmtYiz99YWXz/R6N0r3OLxA14hoFAn0fjCozEcJhFHDqUZdng4id+Wx4GO+7Yi3lP4qYwVDH6m9nai9zTURGvkQUuF804e7g9Dvy8aUYMtSpRWxBbCyJKAGIxmAlCoNwOkY+8rPM0TELwE/0gCU205mxatIQKM+ItZjrdDLg0MVhrFxsddOQV5i219H7Hq/4ts+cNuwZ790HpEN0v1/hB38SQigsInul6f5nNX9rrT/2jUtaEMBWA9pb6BXhjsE70hyGzm4w31KVikHXv2c0SSRypQhogDc6J207gFfEiWlq+Egn1OWAaZ4/UT/MXhhAVY4frTF53iHbQQfkLX0NwYqTaxrheTnBlg5q6Hn2qegaDesjtKFHPrebZ166T3ViURAsYoo6+C4R3YDW6aWfiWjGRHIc3D/83oAOdith8YvrmAgAZAZIfp4U+GRmWH4nSYwllxSmq20AhwRUtmYKfLh7+sm3bBcSa38WtFDtd37Ce8cLPFXo8PL7qKjJZNGq+IiUog9QIhKtSnDtaKtlGiqsJ+qkFf+iQIdZvkDY7uyW/1EB6qoBE8nPyNW4Cau8unaPZKjyfxTNbNI+O9lg4NFtBQ5uIbu2hNmpZCBRdg9Rb1PkrtnHz3mu4UqCL7EwuT8MGe4taI3KaVggbuPMGz5kqFE9c9tYPaDHPzPzUmsmGkmkKhr8zMK5D0P35SjkrbqL5zBGJqp+2gJcVS768ukcIEjaOfZNGdoarnFUBVUpK8J4YEr0Dc6rBqPFA6qem0y4FIBRusXVPSaTF2h1bSZE1TGl8YqJBzXrnsiZSMiz6EpcGdFv+GQhhLVPL6sot9NyLEFtnh1ypKdAqQZpdJjh8qTb//1h8YA/HGlthZyJ65CXW94zUmz08lHZkckjQJpW2btzjVmR+i1Y3daM8lSFI9j0ekb83eXU3S8TqrO34p3ZZxA/UfbC5WTo8Vi+1B0DRX+QOymjsj6yVkdlGZNr6Uu9JukX/Owwrsoxb82U4kPw2I3ma3a0lv5/ClBXcWcO5qJ2eCe4iDlAaKC5vbsK2Z1ltFshnGSQtv/hVYkeguKXwduTvprxUS5OgKW7ueb8tI1PSpVfu0nQYYPiL5acnfkEu/M2jJm8rMLgsE3vxOMx6vZiltHbMZnUq8eluuLp0AEINwqLctQG1nsfNsWm3KwOnm6MJ3yKoDw0kWUnrmoL1OBTlueNi3DUl1eo6KtDxWkD+IVZEwl0zC8G50oNUBZ63+1tUQNLv6RXxKPBK3EpuEDL7XvzoUDT0SUqMsrL1Vn2od9q507Ha7EoGC5D4V3Zh1aGL3Q9/Kfp17c4M06KPktppRLmmvEiqwUG8fQEv1AQrgt5+oP33mQyUJT0TteTFeqNSeuGrBRbP6Qq7GLTXAeqdKvFtUt2OuIYEaMokh21oQjDMXMak4+1Jv8R4q1rcNkc5Y3aGZjR3Gl5GSwObT367Jm/8KIyGR1bOAY6msi2y3UUhrLzinRrOthcIy7qqONRyqRjCOS1vCUSK+i3DvsUn49/rYBqOtLXtxDrUOVpLDApKT76y5a70xoW0fJ+IvTCrNlVSGn6atnN938Up4m3nACHH9Taa0mqjfeVyFzvx8Dg4DBoJwbsZ0hZRfwwU9G2RSsV/pIWu5ev14TzzWeM3wNXn58WA/4Jcem3y0VgL95WgpbO9G7vSetA3awR/uyU/Sv52A0YE5BeWuB5WuXXbo9XRii1Gt3sGhYkfaJZpFeWXniDqDJXX2X3v4KbngLfnxtxlrbSXCoxK/RR9WI0TSrXz3BrpGQnT3dMa56LFSW+LCuWI6rlWgKl2LHu7MIadYlrucI6k8mD/pbnIzHR9AwoLdJDPiXWHhmobujWpTKzq5LanlzjG17e3/w+agWEDArJhK2Z3HXD3w97F0As7GJ2PsKupqTIw1BBEly8gSel9ACBjTKRQDeyD3GP+okemOQl5j0WtdK3NGULDJJLGT0GoV6NDb9NpQWKANe18hpDwSq/y7lCmXUb5/v5XwnhL4q+m5nl4vNpD00iGL9jlApdiFrWNoMntGtgz4u7bZzCGq4EjrnJ3O0XsTVAYjhIuEZfuoKJ5wnw6uZMQ6ELTpzR9dKISBrf0/WviwDls3oARsDkxQNxQOAwf2doShpsqH41a6WAE4CrentflxW/MJ2011pFpNo23dxSkkAGeSKnd8Hg+XUGlYK6fR4bVeExAsr1s6eZT6+4ykNeNwsracMF3s2hB9XGWESIrLrw7XS7FjD4pH5VDSLCw69NQTbdlvfsyueqY8AMPbosj2tPALjrGQRcwjH6u6W1bjOs8aMOgw2lqWWg5Wv1Rz2uoYZ9tXIJJ5pgluikr4otZ9nx6v0pIkSVOWL25wEaorBw6XFa5UyZWLSXFbf11ShbCaMKzeGJq5F72mUuXvQ1dA+r2/9ITHOuMhcWr19dzxt/tXc4sVeQPOeGvyAwK8yEnkSyFS4Kw8B68vBgXnOwtDoTNfskJ3tB9uQv7Swre5k7gnmC9JZoGy7+Qc7NoxBBwLJAQ342pCN9IJ40jDCoQHxQmUiqUQBizD+nPkZ77akRrTuyhrdkjGRZkNeY+wj348QOTBL7U/tcEsON1YYI8hhA1PZoJ6lmWqaENjtCtSd3GO49+7vmb+KYtH9675bkaTfGMPfLmDfzF248PLZI2wloIdhovJXxZF0dI4KQPl5IN7oDC/97e7TWw1aYs+XlW0QYrRHRESwkiZPN0Q7PL/HI0w+NOrDj/MSLgSQJ6SPq1Qgmx/+Jiwal/6b9460HlIcZINf0kSeAJvTvAh6IyjoNXv78eha+zq130peMVWmXtioAh8r9QX3kUrEbadMNNtyf3vRx54Zj3LoRTcYJPEb3AiW+57B+CfcQTpum7pi8ez2wJh3unJFyw36XmMYBgqM+icGE13e92Bg9CjSOp/rsDellk1eOQjl6oOJcdP/seBkuhEZbgkikkhFgd/KawbxYLauoMpTg3Iz7MFY4s9nKbwT7zHowaL5B2Z+Pkj6PtVjsjZqB/+Uy1PXyUn+CNMJ5qV/feq601Q/mMGX9vEyFhUYIk3p03g5hapmsVbvvzy25pOuoVsXlQIQUGmLIx2Z+TbcUJfit1d4akaMcbWKoWAotwtGkoMNJT1fKkLas+5A9JyTKGsAWgrSUD/36wgPGNF4/oIZiufOvvWU9idTjURZ+DEnm1SDs/k/xo9aTRF66t43biVEmOXyiCfi6KzBqyuw58XZm6VLDMtjFuPP51q+J9lvf4TzAcr+60yYiGu+nZl+zl8MJ6/2GVlb5xC7c4uUyczGBbQNcMJTdujCSU8U+62dlIcO4fTaHp1QSWOkQ8DqSJuholvLOJ+9ukFlEQUxByGz0AKKLXJ6l+9PrgfIh7iaZ7DZdW8swO8kPA6scUX+aO3ZDYSPidq94czIG8YChm67HorMBdVITL3szaZtkrIomWhYLgGdLdynydlmOBpPTXeJYjCji2r3sVPcPThsMqgV35C9uoC1P3F5mPybk85VztmE5SEEg4Ua30KBU8SFb7QJkMIHpfdYNTlgzJrXi4cF3OXVOTtPXSABixuR7DF7BPm9gBxKIZMipYjVztTO9ZJUfNwGV4B/9pFgNmxaX/aQcoCNmu5+AVmRz5j7z4w//IXyed/PaP6ZDik6vxcU1Ahwb+HCskiioanmyd0hmbtd9vTs7Mw4Kh65IrFYz+7T+SyqzZSVAaD+YX4y45bvW/9oLnVKGhLiQ3S5w5pxslk24Il9vsnBMqshPaBev8DVjzQYSpLTw/MSUXWvjayfRcMRhg06bf0Avig5HVaPP0BIUQ/bpmgYs5TRY7kDhxNZ1PIGftJ0BOeaV0ge5xLPWZhaDE1vuUEVp2dS2gFgNECQ2TMf9z/Oy4UglQtAC1TgC0r8Yct0dAb8b6C82AP8jHq3A2uBhHX9J4eeZDrHb63OraWtjHvAlq869Az5qcsY9P9x+hZ7zmbCpY5cXubpzbNng3Z/fqfuiq6+zSqdWfpKuuxPHfb2mtCP4lp5L7UfSGaruRkzpiqpLgcJbywA1L+xeKU5BHRFjrNbYcKOi0ABhz9miW0NS5pDC9BuPMBZJCgbqKy1j3mRITxo4VFpIRZFhK5cxoLENe1SQvlA9U3whcba923h4mKHOZCEnWXAdOE1V0DI5YQt89dCnpEbXvcs+8bQ5brQzVObchxMxiM90JA0SpkPNSzlJrtN7ljBxIqBLmrKNlbAn7IJGV8rNfLQ5xNS8wwUE2/Mg5of+VeOkYPeUePoVmDN3GpcFvxVuZEIoNI2Cqj9L/1XgwqSXlArMTS77Qyy6bXk4C9uFyLhy9siFFty7fmTpYxiWzsouuDI19bajdLqjjZQsAKrEq9mQnVf08B2ULzTz4FvVJGOxbiSJpTOVMguHA2zkZVdgvg0MMXENE8ZJ0VKKx2QuiDKH7Q90myXMtCZblOfcY/rI/zcDUHpYRDbD4ImWOr+h2yCB4zEq6yb+9R96JJ24V5AAZDbBhc5EuiW9QYnMuVZ0mFgIUxJURYvGDt2atQ6diwu3ZI0pzMf6FP46ojYNmh8mfHSa+IPIM+M9SFBcrxWXLElsfr6Zyi6zq3c9dFeYtzJgEfNLJk4rR0RJCC4inuivDKIR/bul8Oi28wlow7CoJyCUu0DgEEoXZaGfNXXqDocutdGlSQ/uAL39OFBYTBPjpSFZc1q3hRvMeKrkbwVLgBV2odYiXTwfp1pbgLQq97MS36fFHpoS0tTFHFO83JFfuqsxqxvHaksrJJ0/2lPfHzQiFyICJybFjG8Zp+XJG1rfrLlp55+m24pHrk5F12carpycxGWpVed0eqenqwMUCroitoYtnQAvz6sUh3XPkMHzH/3x+ZDVBTziuKOcFjSto7CNYbDydlBlmlda2j7+YF2fLSCB3FC7NQIjqHXmgBS58/LzpfdPwOTiJX03pjQxZ293wq+Q29zLI7HhRE+8b6irQ5v8DhH5+tdqhIPmAXWk3NtzIJvN1fO6aIVTR5MKBYLAUQW1tHmInGyzqZkpWoWUXk4o1Rkon6lJaCcUjumdWhYyk2AYMyWzSSjUcQ0GyOjz+RDWZNfGac5Szhd8uADnE3zFhsirEnRUmbk3fXRFsnNZDnlyFPc92T+a55smH3pod9mW15FU+TrAR47ZylZP0vuHobd04f1TgArbwmZw7luvp8G++tTlH6Za0VTi9SJz1DuaCPlhhQE9cIwqIz1MXoyiSnxrJmbAbD2dNUZ4J+WCrqIVu9N7egkV8pA1JC5+kDyUJDqzkl71XxA2rPT0+8yW5HOC+M8j3RSQ0N7bvbCLFBgh+8Zh2l4vY4pZNB7oK8DZcpbQxrmtEqv75oSEDi/K1yV1Vs4f4iiI9F+ZGnxjUiZOZuGa8PH8xi56asGBCDy6JpHjs45YfGTR9t5MEd49PosNlC2Xs1iObvvoqHlqEXv43P1kwOPWq1Kxp2s1V+mG0IR1AQFI3ZE4+FTQu4HQbknwbrMK8I9iCR9LnFCcU8HOMynY3DnIjv1qOplikauBWzURuI9zLBAlT7Sy7HSn/8gknvVYsldzj1TsiGLDVEGp/rahMwz59bCLSY91M+n+MSRTVruYmb/6AC1vzgZT5CUtKTmr8QctnpAbX/aZHBhN1YTvojFOv9AM/xkI7KFVIV9O+MCdUfgjwv3bjrnW9mKwtsW/owDl7VZqGfYdqJvgWb2Eoa4I89i8F5jFPJM6PeC2gxXBjIBGY61KfEZlc2PSqTSq72gDM3OuxW2h0hz5Cl3aTGgzVu2RfTYQ0pFJ+Le3HjKc6zcDZrYRd3NbCYs62/OBM50Ewx7iwWDWQRq6BHMlZcSz/tMa3AGAZNL+YgGcduPAF377BkvJ3yEcHU2sGf+17PqdYJl+EKjuY23Yk+56Y/RZbgxdgdQtgpp+rmaOuTn+37MGaxIiuoSpZywAc7xukaCkf4LHsCNNYs7IRn1lepKvTSJE4YT/ZVvbbMyMB+uCEHfDsxoooUgUBb6iSFkFk0SeEB3Dpm0HuGnqPG0tcQQat+qR0ZKltBA0hRJiJrgn2s5wbQHlJ/PX1p8BxTdfeT5To9RUXAPMUFAlLHaIyTXppGmTI0mAuw6wSW8ZtmgwwXvbEHDXghu1JUlaL/9ouK/jIoCY+2E7+hzkuN3HuYy7QLvAC5XzCmWtHMyelAL7IhsJEP4l0ZrNl55xFlAGRTMb7Dd2/jkbaPuc7pRoKIVSytoTekAVRh3YYMP2xpESA/QCLcaVYeSA/2ygtAMF0XvKpmoZJ9ZjloUzB4o7rHOFZSCOT9cEZ6dORHQ2+YXbhONNpV5ertEWhvegb1vwLcvL2riX9AnlUCNCjMN615N2t+cEc2Xr/h2Jt1oJzomiJTpJBLbn9qtA6FMCK3caGYckxStBX4CTDW7wxtiTtTtxxLfe35hqU8bHOcBn1GV7Y6RSLhdJRpB8493YWFebxbkkLLesyFslbTEXSi/61cxbnDYIdmZuODHUynobHWrT7weiszgUhFxv9SaE93c+460Sa7VpQ5OS3uKpL7ISXNakiAyj0GRiuHwMyyn1uN4EkviknvRz026qGwCT48tXe+wzwCVy7dbwYpmQRaAryW0A478ajDeU9LSlCEBwI5GK/LeW7FHSmpiUQDug97WHfjg3JWIq8lx22c75c9zSfdfuxh0uSS9y5VQfxzOuSQlhqWfYEjhcID1WYqTpPZNAnhPA1FPLk7utmH+hL6gIY67xgKXRvkPoApqBNaMVbFfAJy87WF5ngCxkxDJDs5ukUfweJydzWqz5Ot8v8hV7+hFC35gTBkEZXtBblAETyw4q58mUP71tSqITEdt5q6GtPW9TltKHBPeCMKkWmkgBs5tv9IEZ/ysgo6AdLgQk5oqw0iPqYdpNpibOytCkpLCCjIL3Tl1Y1N5EQ64LH7irlOQeNGiMJ8oQHwg6vI+RHztjyV7668ONbbe58zEw2Ot68JglMKN6CrtKZK2gU5qrqtH6pnqJMjYPNgC9N0V79gi/bjxyFwrsbdthjXzU2/cDQvPbHpYt4XUcPHtV9TH+6r+URiFQfqY2qScm4gXSardBvVUbC7SeaFNnHF3ikedRAGt0YeVUeuJJriowuBkT0wFI8d2FwX/QhptH1qjFpTbGSNAT5DABXcRGeHLIq/R8H7m8TV79BxC3Hbbk/YRQ6eTVzgkBUaGcWc6/CsJ4xh7BwG9k6uSF02jgUDJP9mYDbR7QdWpZmCg83PnG4atmWwbauLTp6XCREgcPgU2fPnss8jFUo0dTZdHjmJ58rWf0f2eHdrd0TWoIKH48BU2YZoY7fZCZlIRFqbm8sPVOxiA6tFFHArB3CCQR3+aotizsUWCxTJlhoPMLOdW8tClXQHCJxjfjTRRz4DLpG+1Nz2WubszhbNzt1W2dVewgDNNUy3HAUbFfrFYdU2Q8HdMK1CUuhxpFlM/lgCwp4jjUBd6Ix2SYrAxjVD34EF2cMEtAMw45DyQxQG1ZqTqJdPmSxaGF9L6aAVh8WGu4K5Q0orMx0e9g3L/SO/YTY6RUW2hbqT2OSKSYn5YSgmU3q0NZkuH9jb1D3/Qb08MJ9iUdZzqKFbOflrp2rJ1dIgz5Xf+uY8h6uKP0cji18BtoKvT2KJ2W3TbSaPClbgbU2TmdwTfvTJBZ9Z/E7HrGEcy4uH+jgozv77xplw9nXeI++Mp/DojyVKwEctfJlp0bb7NQOydV+C9EXkMdx7jCknrVUNzIWNjRs2fVkdFzumvl5xXqdhyN7EHNbxIgaArNKcTg77kATrOeT+Zpl4F5PQvMavayoCsg4ZBmJFeL2N6ZkYpz8vzKgv4Tw/fO1n30EouNh9dYhRE2EQrUo9NhgYXJgvfRUvWg8njphfHMcOEsiU2x9NvyuQlKFEGXgXlF7d5koTxLpDIZdxORbXzfPl8+T2sjnN8SpDDkPjKLYJYBjSeEfIIfQbqkWIj0DD4CbDrOm4DzKRHKMrZVm5z/CanS0fJ6xDjrkE0JyIUbRdooLkbQTtAAzykXMWWTRmMLmFMYc3WNomWZao9p4wMXJIxpV/a4Y8HDvFAIUrN0X8SGqEJBsKYA5qdDmKoe4zRKGUy2QpsDFyjSrF7IHwhr3Km9XNwkDOMtF+yaDq+/9Nrxc74g1zvJWh/4kVEJPH+0n2daI/No1CYmuiJ5oQQM/1VA5qvVv/CjpKAC5NwfUQVpN93tjTLyO47Q1pxFs1I4nn5KHpYuC4RTRrT3HTVVJ10nC4JBbyi2JbOvWG889ATTdJRGe5DkjgguYTogRuIg99F281zEIBJ0WmTMbw2KbTI6oXkvh83hF07iQ8KveLax0KKvA0E6ww8Be6O1h6bQLk6MfqU3C+ksHFdv+pal70WmCS4sI7qSe2vGHzv7lVrYRkU2yKsLwtXAyCEzKdB0e7N+OwRBKAhZb27q4UbBUhf79FA0b4morpEOkXeNkv+Yi9Zl5GkbM8y27DCQ7AE99A13WNu4/+UO2eknEAJpJ+sfpkq3l4qljpzlH8gcBz8Rf9Cd+Y3B9+HJjWuDxcbsgEPpOK48SX8M9bVDJvv410BjxAp1eTW4Y08HEKP9QQAjqSavvM+xLwVUDn/CMqVus+JyBuisU6pdckyqZoqPYfMAb/9TsXqu3sT7aMwG8NLi540h5l60boRte/gd7gbB7bm4aWDKhLNjbaJC+Nyxk72YJIajzyV88zh5Gq18q8UaHnK5rbvxYRlUNUvsHN/pBg9nIW8WpfL6UqFobLsY20csG7b34wyIzFSePSFV8ybtUK/NR40j9/rpIQi2fkMFk12hJ7myWLg6HgT8oN85yP0Fip7/Qpp7XV4r6hYIGnhRmKJb/DI73NhLwBYzUlJsDX+dFd2fY1bpI/+aL41Mv53Fls5Fn8pX0bmcsuAslVtOpZOAUtPjk58oaFylokLqWWyzi/egdpNqnNWF89YMlMBrVONBuTfh/JfrAgNXcoR5re6dVUdM6Aov7WvUMgLANjz4gHZuYkM5FC5D8gl+AMHNzJT7WWTYXhmyZ5LqoJrzT5Hss/dqWyHOVjnEfHsXTQIKAB/eJUaEZrHgHkBANbIDMCoohBTKF3pb+K2Vhg4niY/bdoCY1KvKt8rfzDEZz1JyYHayC3kzUXdqB6lBy4EotOHRryaZtTK+qtyXdaHUqiHNhqdtRlr3xXYoN23X/zngB1EX55OJF0AEywQAd3jTCiUMr9bd0ePs7LGdPrZii1X8+l2DnhgRxB/W/UwlfhTU9Q8gsLoRcpPdSvlG/eMV1yJRnL3OiBhCSbxqjmEc5qqS7rLDbeWBFQFM0hRbR1nZxXSew+MvWYs/K3x1Bk6D8haMn/6fAjbFUp1YGG3PmarWwINdOo1C6SlOje9LsTKoWcmAUe9JTeenI7wWI37QbGhlBE3k2E8ruFo/C3Q63ivQ7Dss/WuHTn759SXL0GYy/YtVmLtRNO1XGQZmsreBHdIMjCtRBlJo53bWLryMhzo2oXDq4qN11ucg28qPICUSvWjU9+suQDu2ATPewFbX3PqGvxP69nZWZRfa9DABvnmd0RUhYE2ghBp1MoWsJq5+uDPSRBseT3q+fg24DrgaGCF5yvzJd3JCY6SUXF+VmrJ9y4WpsOxLlVqjeVa+lH5yMmS95zbba3lDBPBc717IU2qeOFAEziXE1wLhg+hLL3jeShF3qbXX6C7PKhXKpuf2hDcOdsaDTIWO8mMEoF6kNpy9A94jDrILwqcyV+KPy7e21wwoeWJDJApCXpKCaarSKn5up5JcuYJQ1Yq+8Ipb9whQOB3K3FjruBsemsaHfzLuE7wY4ayM7hXP8ePpItWqcll+hOuGikeT4BGIA0oXr+XmFSxXxibiZLcAENAmNqXUSwKOTlAQyOgZAbYiKZwv0nBvrbgDTqIz/rinwMtALh2R+1XB0180OxgocfmIcwEPW99Kt76ddhCn+qlO+UgqakD8TmQtQi2CxbMJrI1orMECnFMz1yueLENWYKH48+fgr+dYM7yr3UNuJct8avs0Gfto/GQCvt4kaTsE0XfrekwtOWfueuM0E2rKLim0s+tChyQ7QVTIb0B4u/BuBp+bPgeu2Tr52hYoGmyxE99eWrFmbQ0GpNUolcuCZDviZz1GBpTlBz43d7JNvM1LrSFfX++aoOlYsqFsOUJu8DRZNiN57yQ4X2CghLASZ4+4BHbAfOMWqATS6KzuRJReoawchbKkdPQ8Q8TyeXo7hKuTyAXS6cuDQDtqqTL7IKIt3ZGPdrtdV1680vo3gnW+qP0p16zHgzns07shMpUAYsxjb852pIROPrf4FaEyt+umQlf6ACgoHw94XT013k6AKtR+GgCKoXNUlFudrsgjtPLypFKUfY8AqOAb7PcAK1TybNYOEOU43avE1h/rqhcHPOfHECDY8wibsu8k9djhU5NxdzWdqL78XB/4aLjGHZqXNZH0c4cWx27FZfPtDPSIj9RNM+f/LxdQIi8W4YT44DhtxTjJzUigKdJrIvSFvLc9Hk+OXfljJvAl5Esf0r8Ajw2mrFE5Pis4dZnewGXYs0/OFXyixq7Qclc1A9eX+7cI5cngeUgYR50hm99PPinYqUm11B12n1ew1CH+5IonTgIHVh4OjVEygIkz5+TlA3iCEzjWSwQN850iq6XWpEE4KX75UELJrcULE+mdiKz6oMxkTERYBv+W4OcIA3hci4gLCgZ4z4aL9JVfPX4HKomvF1s8TSX8+Av2e6q83zimCUVxfsVXuJPXdxfrr4nD/7U9n2IZqWCm/l8McXAakyIVwwbVGs7KtPPGapJhfSDIxmits4+S29DKRudLELKHIHsNA0xv8JAiGXYuxh5L/YJTgnlWx49dorIt/cGYlufOIiQNE/tvRKlG6kNUPbe7HQiY2yjKtEJPDz0DuJnsDGDF+6H2pfyzkh+VV0KbLf4fkZQ7ix5Pkqy3DPnpzenA5IwfuYPcrZctgx+6RG4peTgD+7sRfTVGfvJTOk1HDfh7uPf7kmXE2HCtj9MSCFXtmc2dWZKJULqJg0Gb8JsHiMs4xUqVs4RfX00MN+QQKqUmzI53m7zgrwFXWglHPQC6mdzaY4jK7q2SrCctLBSynwqEyGqnjbEaNWEsDTBIxObn7zpZpyw++5Y3+lDc5fA6Y6UjMY6lEtLE/Kohhy/MuA+IDklFVVNAcIJdMlA8fpiy9NNRPEJg2JagQ7Z/FsB8KxOJ4sIgRQitv6r3WMgM62/f/ajUnM/X3SlPbD1z5ND6BSjQM33F7Q8giOwWI6/AtCbjJHitW6wr2Bu11Jo23EVDTGhapfAokJQAZe+1N53m4mOv1xOH99efPUqQJxGEbiwz7Zp2dvj2fZ95N/v7W4fN8m5MOG88P6lpFcp3MXBecBOfned54kCGX9tLE+c6qs8R3VCxmCpWyhHVvfZYsOl/35FCcHkXyTStNvtHs1NPQetATuO3rcsy7HCOE5yyqt3sJwy1HVdRSgbmE2jiPDZxpcZ1cgojvXmN+VhRibBzAzkiGLFMOZHr6T0fMBhOwO3NGMzBSQ47C37Z1J/8YkmwhS8RVnSO0pAQZhmdQEcOig0ZZDyUeHkE58AfWESjGvqIDTVYIRQBfSg8C0AnFTcOZWQK3uGuwiYsPd3752kz1B4nONZA5P2cOAarckbNRKza+fQlzQ8sAhYhgNRmK95K/uHzNa9gKQ7wrGjhoTHJLB0N+hXpr2W+7knyCK5cQ/VDogga+SgDE/mXIGMYm63uj1gQF6sqJxIALbIHuSOY+/1BDnT+YGBcjlZAXwisgjsLaelLVk+apu2xcWJmkBNTBKYQSwi9y2Xd8FhdkMUW7mJZwznX35JjbXbApl0qDLS/5PMWtj/v1KJQ/au8CIJfY52MV+OjOJ7HOst4sIQCV9sDhzzyLamuBGta68AOPjt5Z+uA/O7M/60AHcFQhc1ymUxmv8QiTIDi0FJwd2kUWeBw3OUxeX/IH6tLeocjegpuufnrHzxwZjtg9bGNM1iqHIQSWuv3M5+nmNWUN6Ao+QezgiC3W2anhY6P69OHv48MHSqBrvm1tVaneupyOgp5w3QiQT++GU2kf6DOrHKM0xwITDCOyrqTVurHTUa9ky3k6MvbOMlhs9qThftxYrPeY8UocHnnd95iZxj7c5gHU5ziQ3WI2gmDnEGHQYIGXGXfPpie6FNczrY7+a75T7reznMWIWF/6st0x3HgLrzUM7AJ6toJOOYnCutuE+qi3zYuWxv+J8bB1adi/Ibm1ipHUDYrZg/3iOV+TPBNkEIaIovh/gThv9PFU7seGWIVAFI2UJEWaKerm5ri6FRMH5/mnnG+xEWXOS/Td2QF6P+78Lhu8q7JcXQydieO0FQxyMG/lvEGs23HA0QAj+mYM7fdnS4hnkHiQ4fSKFIiSuPQooXE9hc/Z+V2vyNldmPQUjOv94g5ArKObv5v4VQFaO2pfI9S0sJFj2Tqie/iwHSuAAWJBapat18RUA/8EJ7B2wwHXTu8lHJXshuYDcEWMgqRII2Lbxa0KT8eZg8H4cFOiRr3TpPXeTQB/i5Pv18nOsrf5Nlhbt2xOCGuy2mIMRS8IYl1ORwfCJeEj7IFiKH+GmmGO5OhV5bT3ty07Vbie1zQ1YqbF9XB1EN4IG9Rc1U4ON2ewYIwdmA6KdCwmpomzHHFt8Wf8bky6wZn7ODNC8Dj9yyuwJ9b7IpUMb9D7dYeaHGD0GH4vLrezQ22YLfyO7dk9+6/s+G/KXXWDi78QJ/PH8PbRzS2mCoNTBiuzTGBy8uBjwJWr4I9qmtg7OHIJUGP1Dnu41L5pMlvZwkNALOH24xTMUPNMrXTT1NmsFy4FnnkwyT6K/vgriD298ikhwAX2QI6L/hCJM32lORETIfemzGZH2IjWZaLePe2u7MMY+5ozyGYrlKo2HRLtcB4ublb9dc2DAnJUgCbRotvQuYVUYTSgkR0p7aqKc71cEjYSjrgmAmL3l3b+bUah39+64HxFJjzc6y9CG+BaTPK+87f5bw6n0g21FEd1lZOxhTLovhdFV8KmVbUPTIWlU1S+WzZUtQHVXQL7tKfZBAfUVmEV4vhRCwIV/Cdb0y3XKIH7lgtZ3TnOXyik5rYGjP0ONMDarCutyFlBb3GMAmZO3dXXVMoeZMaz/TVmsrvSiAUb14LUdn84uLPsW2o3XKPTt0WGewL3axPaf1rIRME7YtGFulcvwHaWqG1cV1E0SQG/858RQJCIk0riiaE8oyOZvW32HXHZoHNZc4CRKvv2Al7ZMHgv+HUkxByR4LRBMu1Y32oigumSZZZ/3PsezHf/e2jiyruIQ8TUY4eNVMh38PtLwaqMVF/VtWfrl7NxL8PLLVEReMt+JP52hYTysKtQVH2QxqX80l6/wq3M2WhvR8Y6gD0Hp2uEMkZ5eQPCCNzUVYvr6/TNbRl7S1sVebh/83DasEcRAI5vvHAZutJb3VBX31wyJ5rlbXRpjAP/IgYq0+jbNR9Z9OPJWRjQbC7kPQYMPuMz87KK6sxVeUhN6YlJjeNjwsCpL2J5/VyqXcaaRMK+7/zUlNeMmdrUniDtb2DVMsvG9+ojG+/BCUjFbHQziH9HvaNZyp/3dqciecVQOPiidO9gem5CsV+BIox5rV8cjDIrUjfN3UeLaKVWIK+F3lEe1BBEM9hB5nZe1C2d/clpSd2iwwIcnm9EFhiOXYDGXWj2z8930m9MjNBFBGtWzDRBq2XIGi8HJdDFhlSje3dZ4EXV9NYhdUrffXO1OHgutwyVRGS6WkFkHoO2y5AyLrD4VcWm+hWpLrPy25vO7gnAR6X9kBZaN4gFaqab4lLSwRiVipHtZItQzG368usNA2AO04ENd1IgPNKJeHsuLV+ZcooZo9Zq9rbt8qyPtcYIcZHPhvrfM8a+Rsd7sObWZT/lKvT2MsmfSTsEw97Vr0tcibS5/0/6bzxxocnfjLpck8EUwcOopwBO1+eDeODvcICSNLlyUksPPkPnxHq/VUaEjEo8w3zJTzqwYhcCmgU7qEEAEJ8TP52cmWTjawP0oCgCofG7BZbk5uejFwPHjx94r4rtpyDCGjdm5My5QrhJVmcoPsykG1wTM8EWq8EavmmjH+LHaye74m/Izn4d0X9G3InMo2Ao44Hl6+pbQY8tfT9+Hq1L+TOUgBedj2GDiH7KNPmf/XAXyD77cNuc4mGCrFvYmpPeXAiD0JAU6tLLF3DW6jLbb7VZzdA/5oX26MYDCoxjFczTEuZmiRTP2pounHdCl1zqwoCaxeUn29FsrIBKmDpWvT/uVCrj7r9icucXTGNRKNYjowsdsWWBlD21pRtrHovK69rGK7D3RE8cHfBVqTCzV56sM5Uj7AWnPsFbajJQ2wsQanesg/vVki7QBljQalAxAMMr25tH4GrIkGvZcrhQB/Jhsa4bLCOLr+D+jPMBhX+QL6ZPI91t5QJYQIe4puwzACDV/fWoHIQ35D/RbDkEQrGsXz3Co6Qttou/Ae/v3zaKYmVG4GaEMONkFRx0wETsp1iUW1ZuuxHZF6NsXr8r7BwrJ5mmFw1RTmaVeoLCL3U5S1slv8uVHVl0h87+XQplsjzVEyJyTrtl6WqdRa7RsMrEGWr2QFJGOU+lwTA+7lh3HNk8Bbkt3d/26BhscWaSAbHBbMnQnhSDqulz2SdQiBDqBFNdaGrKb5ps6/MLWo3nisqXn9GZ4BAs1MKIQmyG98UaujOWOxOQM7QyYLjodhwWNz12V/GHrLE4hXT5RV8K8+okF5b2Y9KZgdvhXkDVui0RtGVcTSP4982Pl7YiBTr2nD8Ky6FxpSskuJvED8u4iUjy74WlCn0uV7zMTM0fUgJ2BPXP59x9i1NQpSdCxMNCWpwAHdTFRxO5ZLlYNq31TJ8JX+eIC7KZ68ZA6uUe0rLsv/pA8WJ9mQmZALn4UgBprd835oanRtgQZ1ztjeOnYEw8xCy16errdDUQf87lE/AN9rVPYiukJfqWR59zcogjtPLT6LUWxjw5y5gWHxIjztuOo0T4rpvzSBhuSeUhAAV6mPuS7sqtFo4OBF/Kya2CHJJsdWR/wN8o2M3uHhq9gAYVQ56rokYtDHFV5wbO9I19ednl8S8+7TAyFtM7cCJ75hGocxtA45yu3XOWQsGobNyR09aeQtRGZQMwds8aiBGbZ9jDSXvvvctFnc6Byzu/qrnohZziI/8I9gN3mvVeMYH6ne9DGhVL9dP3Hi2z2yNJveWH9nVheGU6Xvqjw29Bkn2KhkzCYuC2xD3SGu6G7SVrW3SN8bqbO+v/60NfQkY8ADLieJQohUjIML7pxtpKbTq6Gv9bAc892gpQVdnG00JuyFEkzLNEWA/sMQjr3Vc7dcIh/eiqIOib2L38AhvXdFv7uc4+7SetSUjYqxgmCfCjkKVFsA/2Is//V+nKf9yrPh4hTGUzA0CLoQI7y7bNhVivyOI0oGTnxar5gsXYrQ9Y4QQKoARJs7dJ7keTf+u5BSxoa+RJXhLKNyJjB2YJ9VVzRjRkEmnEtt6wMLeZ3LADQi4Sn9/phtn/9JC6GCDlkPDDD5ukuBQ891XjkfhSAAZBwUKM/C1p46qLeTAI8gwiUX8nIHC47tUmQx/TEIUXhFGhc79b8Uh9Jbc+US8BxkBR4k3isaxh3tAOykJKjAOCxJsWVETVbAmYXKm4nRPtby/TVix6mEwz5B4IeqqjgFAbVKaku2oMYKA7T6Z40MNjVnt6/7heXvM01VuF2qKYXcgA9Fas7XLOHYu4tNYVmxqzieG8uvRUL+Qgug4N2fw5K6r7sAnFSsVLBJ1AQsibmTY+yBcnYqYXUtZ9MIHfhvSDZ7KYOG7K8OPvD6ESUK/mzlZChmjhhlYi3xapV6pcJ5E3KZ2uznvKCJXArTwmSiXc+GnjE1dctrhruyXbeifAZI+ussr2RJ8WrtqXRu5zUgwAqmAf3/yJbRXRQPaNHJwkdA9CPlU4Vw7dcv92MiYPsP/4J2/tNGMJ46ON3kXrDl+U/Dvq311P3vNsKdxPZ0QcPeh51VAgF5TQ5ZZz6MHs8G3N2506qScsRllqEQ6JSuPlqM4mWn8/qGDBl9HDAr7t2FSARby4vwVDnOg6TjRoHt1Qi4OnGDtwWdAxk8txKsLIOmCMVTcebtwWccNeQCGUucIhvECWmmyVYFTE/xaX9+npUx+dzYpg8t413CLkPePja18+oP3l1B9VeZVadMRg0rMycJC8vK0x77vAkvzerZv+C7lMP1xTsks179EDB26gRMrLnlh2ctZgepI0aSABd+S2F+E0vRRhGsxPrhQDeApDelGU0FXristmlyqWRGrdciqITgL1VDI1Gmc+32qwDhnIeEJXkJz3K/+nxyXbHYcM1cd1pun6Gk5JqdzGLnvC3690EeSxYp9NT/2FauMxPiuo5QZiT8nfWvtDx3n0l+I3KBxt9yW8bcdoSUfJtfEvBy8PR4QQbxLVo0aT/YpR3Kkg5Kc+DTrnTYhK1pizoRCCp8pnWTbyRURpIU7Dh0c6HqBeua1mgT8KFgufXacB1UT1uu6TC0a5QRUHXKQ5unCMwFqZiUjZU7UHKv/j0ly4QYT/VGTgDfXqIJB/Va4zHdPDohMraKCwQxAkjW6D5juNY8Prp4nxFKnntKLUY7Z8erzDZd2nquYMdeP33WY9dOmHXT2/rVQkAgnFY7UVA23Bt5a/2fhW/2tFGmt/X7YuihYgsQIoVN6307zLnQb5LlMIHLmHf4AAx/OSSl0aFdgPimzSUQD8swUZTeLPnwCDf13yo7d5m6QgDjgvyZ9oF5M4oelL/sdRjVuWLjVFOMTI2cPt7nPAHcMsvrbmJan2qizwMVM3E6yxj73Ok/A9gtUJGuShVQrjYwvshXDBZzYjBdafIoDEI/DGWxmRtBSzGHHQtM/WCOt21BAtYSPvP6vfYuuBJG+ESxb5IAa1RFK0Y0zA85jtNzs3K/1x9nhlD1FF1C380f2b59PcT0nnlnhvRI1BcAArGLSVftsrnk45nshG9TK18c4o4Lvq23URyb5/oA7etLT9uX2Epnv8fehwoYwVDPD40tqHiwaSkOlNRTfmHGx4SlV1XKFO6em0TJhEtp3+1mDdX3ynmePfZe2mND1ZXpEitNCZiLm7cF2NkoEg8IrVaIKO6DU0sGB+YNChu6jZ1mQXT5vL0ZbQGTmMRSeF39U69nLgp59hhC5HW98ogD2xbnj0QsKEI81xAVvN+Fg1WBKryi2ERE8xY7YsYvFGI8NmcgDRhWYzM2MWGQN1DE5NOKYemueLchZ/I8Z7rERMVRGODnzXM43iaQA+txvYghZIQ32iW6Jzq0FKGjcndYvjwaXnpt+4LP7LJ2OShKEhcKhw0uwsaoR8eLiaS27GwebfkH9m/AImKENnRym4xxSr4ERKZZ/kiRWKNRzs1+KFYKUimDzPx2Jd6hnPpweBGWqeY0voegCFbRI9tdn+2sNqSaYXMW0V6s7+uxrcVp3HBYPI/x8XBFKLyDVRZp6bMnWh1adHbW72IG6SwqQ081GaWPFcFvzmwBMzBtvCi7st4zEMvtE+64B3mCZxIX37ChkWqw1wWlTE2Oea4WMlxfgD7gNgq9lgRx9SJXQL2wDnlFdfNuaO+7Q0WqwotZW7YsmjOaQ6iIANj8N/r3DeByv6ipvvzintY2JHCF4uOrUM88Jzf9ZlkB4bfereJYGGI1XkQVdf1A8qgotlvg3DpyhHM3crtgrXsQBOUhniJeYVyLsLMU/UqfdAFcWRnutz/4FgB1eConR9zdjtPqVd+KEynhGug07GDE9kqmopOv8fE76SWvgv68pyAxs5fzBP7PDETgTE387Nc6edgC6mndkyDJBep5yc5OrctbFAVZEEk1YjlmiNxTDRjTq09fCfCJC3yN3paSS+GCAsPkwinT3daGGccSaER6zL+KYHUItZa9rJtp0cZ8+We14Oy6yrZhOXKIYyRPxbc86qJKAtrk6IbAneZEtYCQ9xq7Z2ExWvFgn5E5eko9M/1S/8Xq2N7Hng8FVCVd01RhBCP+Kysd8r9dw+IDPMDMYyRxhxfgK0EFwaubYv1k+q+4fzen6hR3ZupgPZXIb35LHMOQH1KZ4qtShmWa4OaBbaf+77NokbBvilFBIG8E0aBiMFwRUi7SXgBGCQF2hll2Ewvb0/fjbndFEAkQ9UKim9F430luth5zgZ11wKoIs3Hv12tdGWaeFc8uQI8PtJ1ByW91o2YpeJlRLTKskyg4IMkY5YTATgJcXPK2wPMbbP7o1WB2R6Gwx4rBCFuwEZOa+fl9WljJcQNRM6Z61GcX7v0msKbMJ3Fi0pINajJCc6BEM6wGR73sHb6Jo62JV6+s+VFhYhr1nVGqrzGzbgasgUJRGLwNg9wr3L9PCk9cUSRtc0C+WLgVj+X/aB7kaZ6uMVayQBzDHm9FDqn0lNNxGzaQDUtPvgA6mq3uLLL1HG5wRMYN0l4faYhUZEc01Bl296qAizg8CdHJm2+YAPC0a3j4EwKIJYSh9givw8PHrHDxyhBxAt4aWx0L/Rd5NORZFjqLCTwzkEW5jHwHuz8aV582LZaGIBvO+9Gp6A0vay3BtOoTNFAlv+NqWq5C3fIThYTEq5SXabuSknMfUQe+ksnybCt3YcCKO9UrNAyLYpOQ+8wmjjKYtK/uKjLTh+LCzx13ryeWVaY1KwzGqYWq9SD1zy8F2EZfkMIJcJuGB0kP84rRxGpy96IJ6pzKE1xpfZu76UM46Vx0yaI6+wWBTrDfmdRP4WYhW35msxEeCi23+bzCGU+aZmOWlKC4y8p/yr5Cg2Fvw05KztE1OmhMwgvWU4+Ns8fMcarP+Ayo7YuWfHTGb7REVWCzSj+ISl+mtKe+L3ZJ0a4bPaD28gI0Ndl8xLtPGAGQskTYCBd18EpShL7GsEoE5nnTtPfrGgw/rpEPX1KCGE2tX8YRIzXCMGfSwrA7LcxRFOHp1qOKLk9rLnEBP97C/n6YUXE2QRA9UBhb5SQGVRW8fbhmIzTfsxhTP00LIXDaPtXKGt/IabN3xWibg3STr25YDBVEy1+ynyC7Tr0GILNYbfWtuNpjPfqOMEQ75WoEjB7Z6B23lRrsg25db7ProX3RFB3ezKxFh16KKcxRHC4Ky5HR2LEWjHU9EfGUYQTUH2Flsv1i/MEQKwlCYHNCoYC7w348Nih6xa78B9Ki/58ySETdHP4CNTavO+O5kgWGQJi5RIR9HMMnLPjrCz2VvXkHEnPU7tJ/eJgDOypV6YnBa6wFtAniCM+6mHphBdStRS0Y98NfjAjgdh7e6/ky/+EisTWdTZN2RScCO0CyDitLLOIYGpELNFfYK9Xp3GYbRcIM9nWt9UC3IuengGMBZde0GosVrGTxiAMfpCOVI3xC86PApRIOvtSE7722Tl5dw32nw6ceP9UekCAxYE9EX7Bls3QH+O55oqxiDOPhLZriMCjVfOnLw+Hk7A9XwxK1IJKdWw/+bSN2qIibWdOsA1g11cfGFdTQGeyo/Bnfa5wOn1SUsxN2tM4kYntvbZ1fI1JzEq9ZXX3sWat0UMsTDIXoPNpkB5zV63fOwgn1mVACYsISCToMkuujsOdYrPEM3JljJyYzWtATbNdW0vXQwq9x5Dufqi5Um/KN1ZqR+MwIcYMdUYfTBc2RavVpYy4DjTmh4Gl8sK44QPhiGoREccxyhTUKXmtjnVpzW8tYeqqDgubyGWCpo46wyklX/5ecy03iJNcwK5mxXClRqTZ/Yum1ic97gx4lVEff7ma7ycNeFiKw9rLdfBD+3+6+2tI3lrlDhuRZFGHly9T/3+4imwBDDbEEVBB5K8gD+lPflKqAD2y/daPZ4mvnw9yqecg0yjlypobeIrYexVk0JDh+oP4LUwNBijOx4kpMlbPzASeExC8lavfHgfiQNNR4yHxcLgNB3hqlidPvBBltdjgATOXe08UjxQ7Xy/7K2Dt6Lum1WJKmGusVWo7FsKTNMj9CUwZ3o5SFPpkL/6ZwloApoOfo3FKIZqrY2ujnZBly5QgtEsA0wCe81vywyTng46pfZ4I2Zdmb2ep9cpLTbBM9Uvo4XOSMGYboSBJKs85+RglBx6DUFgEWtEY+h4zihXdVw0ymLaVKkUo1mYW7cHHr9M032m+f8HXi9SYNKl/R3+4MGCcbE/FTPlc+190hEpYA2gjr5mBg1lZ9f89VVCleOAKslKvYHKvAjRlkQYcyHYXRuL6zYWwM5bNY+eFFMAyw0iZDAH2NTmjExzlhC/jpk+xTo6AU2095y3nnBUaeRiYj+t4lokbHZPovBASuQaKVMm27RF+saaJUo2iYkPIvQ3km73UOupZk71s1lqp6mOtPepWOEsIuvpCW379ssy0lOoy3FP5m7hV0Make7sfXiNipBdPAi/yQq6ZGrz3IqsmzN02t9kWKZjI+Kh7nIFNjYLQN7/M//mYI8Uxbz09/ExGY690+4HXcet72dKQ8qTkolB5C8dSE4U2q9ZJfXK6ifIZvLsf4QuGJTlEIQ8YVYwjXjTC+spxyPyzTuzhShq92zXlvpApwtNd9zcZK+tm/w2GedL/kGtYmSR9wnhRqrdxhrVlImLBw8bTnyXWHVSlXiX1kOzrIGbRn2/k9Toekt6380DK/gYo9YYKuEScFNlDDq4CZhHhlbEqi2yzqnqcEqY2s9YDdPp8KQmlAb9aKj4//UjR63v8wCtSccrw7v5ySFqPz6CcpNe5pTQ8yTJb5rTyk42zNBBEM7Qh00LhJXzgdI2Ak9ZtQ42nLKVDMGD3rRA1XfZzwjm+iHbCbcutShqEcrWc9V9B0xp3sr9Jc6aB0lcFCZz+foRpJx3rRnbnGtODGyNvhSjuNhaYqltcGVv6ybKPIv2GdOBWlNhz+enUoi41Z5L/XG92ON03IQh6zoZuYSKrsw1vNa2yspLg/mtm8spdUKu4l2ueny5AxEsoXbj6I6hPai9zFF76fPrXQu20a/iHEaNHJhyjqnCjI0iH95zTNG8Hlc+Ql8KFTvkwuWLxk3og4rno37JO+80rIF+dapiGAANY/Cqte2hcRNo78DW37QO5TexnuB9lorQVVjKFs+UY5fOJSFtMKuwnlmXe4o8FPBfmIUHo1EtCSPABpP803yC1ucPeYTGuy9CLHudZocPLKoFqmQ+zkp+EnkdDSFyCAAL73X9JjQjRqjPgtZuvob3tZ9xIDvrJ6C/AssEGEPsj/ip4z24vscVyeiu7obumwhvEhRxDSS3rj89b3cAZOc6x0eDqLoeaIH9NUFE2uhvG5Qvur/gX7H/OZKENQgIZxNHjpVU6sO0R4erb2L1yI/iQbNaBDevM8fNAEF5oZ/nOX7SBE9zWu8cCzLQp50cEtQkl30Xlr3kyH6bTPxp9poyWqG3g6cV0csi6bn51aTE2YhX7HOJS1ngCG75laBUXtF5CGHDf91lPKF4KSJYGFOaJcb9CnkJN/NG7h8PW27EOstEo0Axxgpaa3vyKP5LaIdKE1QGd5PHWbb8VJhhAvPTbh6c//EI0cpOUVSCJXv5EL5SZwfOzK1MO+QkrF/igrT4GOwvPHE0nfCWm7t/JhFNlaJaCsKt4/w95cuzZ5TAUGXT8vOo47IRhLNuAUgvHcg9SDLcY7i2kGQRxOh6gYLgkIhjwP4GGZldLiZDYnFRhkvi7Jvvigei1825FG+xQ123X9FzmiQN2BCZyYvGg+suep71ufBtzSfw6msH+B2Nipb8+P2SAF9QqmMz0yBk+DP4drAz+nSzLfdxm4mZbFAd/KDnPI7/p3KNJDwPdQXgAJ4TebRw+CuX6MaYENuqYdD2/TZypEz5A84UPY6fbM1F1WKEoAW7IO3ZoGJPhXf3XLqSiATo1HnpVf7amWa2qIAJE8pGrHisXcroIye7UDcx85ziXxqU83njsnDnwTkb9G7NDySLvO944vZHmHCKHtQgOR6rUiM2aPV+jla30336Zo2aj/7m3gzamdy1j0aiVo65/5iu8pkawG3wsPEK95YNroVHr5BuzwtXnG/bsKqLIAKb6/RcyKlyGElxaEXUn8emq3+9L7xM0YwzWcRPM9HXng7KqdFvEqQ/QXpJDdcaW6FlpvEsopPSyLK75Wi+ITfDUM9fgVi2eT0GEsi0jLaOmLAF4PBzMoyizwwU5tIWAjSix6gldeC5roHXxvEmlZ1HYdig4EUa6G6Ct0JbtRqbQbIs8IDKJKulK6E3CMTap000idOqHE3mYYTQMQzOeswF0HRVr4tMlc7gR9EznHGApCA6XuEmHQOGr9p5FablV63+48WwW9W3y3cLBaVfsJW6f6mPSDIfxQqCNP36wBf5tQLJDLUJGh14xBDX/CJClhWWJb+xCH4CYrBgJy6c3AhmGEnxzSj0zfrPgUkZXcMYahrmQBjtZN+3KrkI+7XCQjMgK13i/f93m6KFR9Oz6ZtAUTtjQvr3ux/h9ulpxmxc+4RI83LIFiYl7lW8VtXnclkU7CG21viz2kchtnSvBYrh7MO6AcCcOryxxhFV5KDkxDr6dIiloFxVGAXwZVj+H/OPjUGM47J4cz71kSynMvGoPwiWH05IR69RzW6/DVYcxKluSmyDAl9QOwUvix25sjXiOO2b13B3a+9TzT80lSoLrdIymU+XFGIxPkHuZHhTrq6Pyt5naFmdouffKdq0IRHLJApEhCbkBS8y71gFHBLphWcjo4H+XznjT+6ALvo3NEspZjGgLrngZ937c6PPyOSPFm6jyeMbWdxNYL/ajseQCkkPVBtPBaYLgXJE4SwSeFg4lVJJSvvovMp64bqTtOIJ+7P0MLULCnyoKNUUsxB42GyI5Po2yytIV6Ea8NjYA+mMapVGtPurlT4LCr8TgVo2vFM1rwT+XEPsJ9h1qXVjy4ZXPtlq9cj9pR41X06cCvcmSbxjl8XrpR6890amYFfmGvRkW9JEWih1BjgAFrGQeqYqaiBq7efx1zlMGGxosetYHQZ2drVVbp4pYmV2/KHJGLBedVe5zTHvnveRVcNaj4jSbOcl1p0bwLmhuz1D9rb8cdHojlocrYhNUjcH3bL5Ry8C6UAsoyUaFmB/Luld3iRcqtkM5Ku9uT3hj4prypsV7Wpcc4Gu2aj6SYgYzg7wo7KS0kWCk7x5HL8LSyUil6TwN7hh/KtqUmTdLcTXUqe7h3TTecU48B15zMatWJtU9/vstQ1k75jXG54E2+65x2E26iutrNMWJPqzh20OOnT69+/WGPALWnvA1RSkpHImrYXAJtaqdppYziThnmzHkf/QJygjZAxr70/+AsbfXbi8+lDITEH3J5GuMb6mrdVJ6wnltD0LZQCJmkgb8dfrqBd/YlWrJ3npBnjaDWzl3ERPXtwqbHof/VjuptjluvYl8aca4V5fYOZimdiEjE04T18xB4i23fNDG/yBcl3eaZw/YGm5EN6oyiMZ/eTg7GWzqNfGBJhtjAzjI/DQd3BMXZ9WkDGe3rwgpilD68dCN+T0xpkvyfxp9GHCF8ubFcLQo5mCcaiDopSHNsRzrhfAhus0zCSnakKDveOHkVEr42EvtEYh7dSIcZQ9df3A+Sruzy7RDT0HHyMHMBz4Kg2mkucAVCGp4GNpVKn6a0k3B8fA2tLRnSB1C7mftWOlhpnLmtr7F3Je4lvPsNTg6YTj25O+iG+tzRjJK0wka6X4ZnZkItYDibu3y9c1M3WTwIQ6H66iyYJ9NyDP44yqTucweC2ci4B/TEFvZA94o9QMO/FrppbhTzC487v9E1aCF572xUdnR2mf1pspdrpFkZpXl2a438KU3GGuDQSBdijuSFCqpdfREBhlF3tu8Zof+kMMqWqlXg7Mic7aoEPQhcA7F4x8AglgBHuoanIJrjLkla2IuFM+QqL13tvXScHxe075RaGAjqQ7YkdPPjrOf7bNBDR3AGvNSDoTPKlsr//Ux3So/Boxlpv2NeXlQmC5Y4+ML2J71fusXclVzrpHD3JXO9dJASAqu/wOeFRdlCY/0rUqF0IM33CNcWkK5tU+Aw3A/z2XYd2Hfvb1in2TlDG5OmwQjeoz1StcWERSvfWFiTQYvAU7lN0B/4mSKCjeq1yaHxepZJ/ut3aZIWiatIGBQ33f1gUC8VuiL7HmlTEYz8LCoRbsnIpDijyFtmB8jlLTVvv/Jc1kQPw7CEK9S/3DJwEQ5nVUYRxHJuuOEdWtIhNgL/6UDZAWkgDi6aC35E0ZRvWas2pZ/MJ6u1TOKDsNrAz9GgCPRYpt0u28cXXmJQk9z+lbG/adkFN3Kz7g9nHNvunbzVv35Bk25IAR+LQQY+dO25JLbq8dsIh5NmbVR7U8nguivw6KPfrwP1VakDa7fShR06q+Ha4Pjq6VPogYVPfT7wIw88kOsVu9x1pxW6p/F61HK1nGUdumoCfL6s0bmZnViXiVp7tay2+YjdyrPSF/txLnkblUSrja0JTOJi98dgAbXmXkDS/P4FIJEFnpPcL47IcS0ZH2AZwmUCoB215yDC7kAYMosv076AfNfhYQFNvc7/HFad6h4o9BycHaEQLn57rchF2rvHtfVfciJJ1TweL2RFebHopfLymGafqxic7D2pjGDdQyahYOuOKLDM11bUPDKMl3FQwyehHDda2E3XZLTJDszDsWzv7FqJaGM069kzJ6wkMRuPJ5TLY9yrSItquMGSPIr7KDNq7EhHggX5p3RjAN7pR220dQtS/BYTpmJmHNP7Lu1yog6kPUFlA4xsUR1Fhjqbe/+J4W8ZeIpKyLDI+EXFKPlQy6BQRKviw8SKqkq68QM5OHW6eCixaw+T1QnFIALZ2EoUiLErnUCQNDSWwUHkWAsK17QuHD6UHtc8ko5NbbGCa58vPEMEHvdWEbe4LKgxaIaMAtWr7zu3elVkgKpGT+HPCDaeTN4esou7rcf1ikgAYTksoksmn2GY3dpIxIKTVT/fIdrFCcICN45f52ZhTb7nJ9Iw1vHoCNaWw5rPLbgSH8wbvFl9lSxhm3oxcz2CavAZ09JTESf+C0v974JE1Sl6tyaVQN3f9fgpqme+BOntZAXhu9R1TCKmeZvQki1liwrkpDlTb78w1iL+H7tGtp1ZNWNX+0ci5wy+RESRxY2+TqKIBDvb7Yvc5BcTsA3YJS9DXewzrV1c1SSoebgTyt9ygsXyBXxP4M3QtIWJ46McMcDlFb5x/EMyVmwRJ+5VUXrnmqz47J/xwEt1wbBfEPn7UzTDlDB+Arcd16lS33+2SVfKiA2SXpxRX6uE6aFGogOEZKYyCzjOltyDfO+hc16ZzGEGwmzw+04irWNOcgjTwH4DDa4o8CFXHrTodlVi1pu6A2mgo89gkb0muTqkOSqAbAxVndR7bFEJiJkQd7MgA3lBjgNcmcS4yPknyFb88J7MYjifDhwVOiJ2UOFmXZ7gqUYE6eWeUFblsJxV59wFxrAAPSMHnEeTrAdcetEehp1ZM/yM1eCLuHEI3jBIPTIBLns3afqtb0bGZsu4gQxbrgQPLUPVTCrQpl/kXwZDqNP1qBnfXsVAd/0wtBhVq4A1xBdUcACgw9Gn8AfN0t8Jbt+ZeU83R+BXSMhwf93lsiGsurelEV1/Wol1PqFXSEYHYP32M8tlX+BNguOZp2jtJiVDGHfSO4XPZ5mwWSyDIamazx47NqYWLSoEftTSBnsX0bOdoSp5DyluIDgdMgbcyj+RpWipcXiekjQfPE5kUT84RqvxiCJoZ8W0PKdbfNs9slZjSMvUzToyM1NgXYdOBPU96mpOj0Cqk/MijGIgSOaFhkmno4fHEIewbHgbWfuadEvwJq78ZYPNbjRi85V78jFkQ1U/h/dr8B8O43cIjM5M4pvoYANHRDlD+tT+C82zNMqCg1Z6B1Vtsi8oXn99rvwyn+ZnScpYeebHRb3s8LGNtQ2XxS2JiYX6FkA3/8Alc8IR0taDDopgHZ3dF0dYAsZtYj2EUPznGdK9LiMQwWlhkvuwYkWXQ/KZ8L2oW1YeA3+KpZmQ5NjH9liUENU3PmMBRpVhKRrOKIIBR+ZVCQL4S+VRFz+TIhplwlMYYD9rs1WnKhNz5eL65qXGpCWiLxjCygC0b5sgBtc+VWGFTewOafy8Ei/Y0j8qVxiBPjku0WD7a8+3BhtQ55/dg+QkGRd34kIsuyTfdHYkqSyGA25U94iOOfkPsbzlLvMR1Nd2Nb/nfENGghaqMHwIobN6F7EA8gdC+82d5m5DkQtJpQoMo8O5jJlBgJH9jdGQDLrdhojnOe+Jm8I66DcFZV23MLHStsReWgOKCBEkaeqLK5VTMTIUhS3eV0ssLPvYETP7SNQPoPYclfpCxtLlXKUCjzhtuYf0j0N0xyvIpitTNsO92cCPAAacLsnTW4Hc4rbrO7zk74zJ4rcgpE1XJiO7NEACTvZc+NWMe76V7B75HqaQHLURFLL8/bgw92bQlLmolFnCx0t6FRzxaToIKRYWcE9ICWc/wPMd70EguVsvt8DvwkjwV8zH4JKh8f63XcSJJ6QHO0omq3hZ3I68UFnkoiBKWh1Q8HFOW8vG4fXxIJkNNE4cLhVTnbdz2Jhnyedhbs2GjbMKILf4nkMgThsKAHV/eek+78awf5m/bSvwuoL7MjE8UuBqpYmdqjcEM7xeDU0BT5LzinKwvpSYnj+FnPMw4+tvYUEXnJGXRZdMUdMr5LH+CjvGD2jwXhgEVlO4tQSWJRNlyjRGuea8TCQp4bgl+WHNyisKBsdJAbV8Zygd1SBxjdeXSOGTaxtrVndR+sbJOWBHFdrjPT4okX4tyGSFtmXxAKNbwbkSr0R8Qzyk5G4OxgHBRRgrBT6AWcdje1oIaWSDyImNq5OG37nI8ZcsOFraeWCXZmDUYT9JXwH0o+enr16Nk4I9YZWdOngEgegLYBdf7bpdYhCfsVZljy3knHmaufjxH0RWbC4bpCSztifEONsCNeOYFs7yX7JT+0l2VPM3jNuKrEOlkr2j3Yr7Zx8zdRfoV1igKPHzDrn7bS+jRRNzT+F0h9oTJQx/RhCo6taOEKjKUzjYp2faSC3n5VnXE9bjUiDVryjTkw+FuiWiG65ik8OpMBk4fNUVDjZdSzVAKHPmY9WlmTWC2ZBJZUlPzUuilh8m7b+A5eCBozIoTbJbArcQXcQW80BXzbbh1V27C8mhISfZz3SXbfWCA9fbhXnvYCmE3acfgesSlxSgYfUogDBjSV8UrOAtrgjpzV7GhKknOeB6VFDfKQ559LRbkMzE7bBC67g/pu0Of1bBANUXX/pZKydxd/Q6IHLdnxrVh9DRl2He7+gHni9UJ1yZaS8N0LznEZullfeRoDA74JSbQ10sszp69wwgjDBq6CrjO472dvl3p/0cGxB+pLDbz5TU2xRoJuGCeqzd+uS5mCVDKI/3n94o+GaTp+ux83ykKk+oAmv6SS5LPU59c1+b+QBdIc2KVGJBXDkyvY57uxZQcfkZdLFWCHzkjXeVod8As/plFEf9mxTr77uZire8uGEHcqfTT5umIjgeQeg1gGr7NevOnnX4tN1KVZ5al2Zq9DG8HCuFZdCTPQUnA5eN0FrsgnQg+2i41iZS7XKgqyzz2i5i+nfKKIpp9Gw3FakXLs5Wtpv8iB7HEJ51EjSheNRsVEOk+uqjEt4dQatLqe2K7a7skcoXXqAvM6NwRhfkwBF41kdZwX2Dw8VcPOVm59KPdQdmdafoJkteMh81ULCyXoueW0+fDJsLs1l2+MM9SiLv04g3+n/PL9NbWkL828ghH+nUfwcF7HnS0l4sXHV32CZI+324uX5dr85FOyp05G3chU2EwEic5VIiBSrWkqMa7+yv7/zYHW0ZB0QH6HjusMey7H/crZF5zaWviRwX0Bd6jCsUpgyX8CWKlyKrKOCTYuFvV3Hn5J8VIiP72E+C0lkFRdqYa2u7lBx+BkSxLv3flXioCk2GyR5o/3InVU7aLmODJg/QXbiQf/VDSsLT6YKLn9pIxkJnPxaAPM7IREnHXT0LuFsFj8MGB3U5+HPNVWdJkzBbzldEmbOnSSQFAq/OxeEp8Pq5hbdsYA1yON2F4Sr/iaAOliAtUZbVjvupSR75ysoVL10nquIv6tDAL33OCuUtEbmcu3CeO6waD9p3jzTSfJWq8nUQE6u9PUfqW0g7gXMxK9GvhmU987D0jPC8yLl6dJkBOxeKKFqjI9i9GCgObADmWaIlfrmO3srQv9T+cRGwBxS3PGL+utDl9PwgiCSgzH9Lm5enpHQm8TbcS+zkErLf9Ztf4g/pn6sJKmU72Q/v0CLY8M8K1bemgoD8b5lv4BGaHcqG2owI1kV/3+ncoTtzpgbKCOQRPucQWK6ApZr1lrSwrS+DTUu1ruAW4hfT+IeLPgT/Bql+rQUHpH7lebVAJFgBC6/HDuyu1qw1HGIOx5XYLoVMch+zlF6mnGt8kkU7wCAkF5qnKbK9KDlYHNel2grcV62U24AHKBLHBu6TmT5x30riUZPwt8kAh2vdKbglRd58tumgxWa8EuI1RE6XVCpfV7oL0U0to88RIUYKn7lM1Y8+DYaC2xwa9ZT1FF3PZLU/vDNC0Bw6M8388eSxvwtrIhZg20XNWyP5BXQjxjgrFIAVT/qNWkfUdgghSZCAdlBzrHJ6Kx/rfk7Xp2klF0YEUAej/SV3hL0AmpVmhLDibanXCI3+4xhj1aTgdnQsQF2zpqte9/sVoBLwNHrdTsQk8loJe2G1/QFGTippvrJuLzj5+gP1aQP3Jl/76av675WdyQ6pX9ZLOMqRnTHMZLlWKOtubUvUbYy3LB61vRr6xTDRLCc3YdYSRqCktzcqMmr+C/NKTxAp6MOUD94VzapT35HqvOheH6rg2B7fq6+CpkMM6jXVbgoNFzx7MCj+d56qWoqgnZxyhYWjdV/qbjV5X0GW84s3Tr6eNr7+mHh6hrlutREoYoxAcuaRnSficPqU5zaEUx85/+6rzl4POrzq+vSVrT+ttlehQPsZW0LbR9LeFwpqdFiJ4fbI3mhcwnpkHh/+m7ozMAtBzMsHQ5LAGWsvjoF7/bBWjD8nRkeZ4RzJV4/Mfk253p3yMofV3wXZG4lWqIo2nJJAmVjY77Z2Aes1heTnmH83V7zGykcU+I/XcU82/siCvvWQI30aFxmYHNAM/D7Zl0K2uIRE3zwtgF5MTuG1anwBT/RzUX+jWkdKgiGIsjaUPmukehduvJ2+e/yf1LkAndlbP14SVY4bqRImxlE3OhvzL0UBYuTn8gmG3C7RgsnhwkXWVPhYT4wq5NipEwiKK09kw/3iIKhipHPZEWa0S7qKSdFkhtuIh0MBugy8DgMQKzH4AhBqjtWQPCEhJR1VrozMqE1KWHLa/YZbjnc/0G5hXO/v/WwecCKODBQalZ33LBwnR9K8odhaFhXQs3CyMGgfLDg1d7PaloDce5WiWRFOJavF5bMby9DmGWPgPDZRn8QeA2dyyfdv9iSbrNelz4SO3agsAseEiU4/DIXGhI2cLksCvtICbLW5RuMBt4idHu+NUvTxsPIVQVT1WHK6K5YwfR9SwELRqNiLiEA0zI9Nfrg9iQhwxAThup6tOKLcA6DHFSiTlHy8BOprcRIiXSSkuJfmlZkbDZqY9N3WrSbTOe+pQXghnEt3c1ltCMrj2VLGsi1zEs/UgxlhqFrlY1GgguqNTtwGUXuJzS8IacPQMdZKpL3OenoQXWn271789RA/oIuuFjYcyShkS383iKDNIPv79HppzcQpSQmYxFTcvsAz+PFRxrYLCaRjkDbdm2K+QhmYr9FmzQAcft/vbmn2P4NVmgUJW59y+rxHQv9ScvGB8Rgd//Nhji6FDsicgJSQKC95onHKFkyO2jFrCt86kl0uoxJ8406T3pG6JQqsiFZEj/kEUv6z5iHBvqIbLvKacSE4xdwRa6Qv94hfztzyW6QFdstyPDBgdnxKY9jvsuuvgTR8bQMPvzSAzuN/coKQFZckvbDAm1Gb7vxKHWnBFnbwbIFWKN51MJ9X8ajrrfPnqNMCRyMmQlCHi3cf1Txz1m8mQVnf++Isb37MzyavDEGsgFKzQqFB/xE52XcTrk1FaPWLrCisbcBAXEeSKi561+erulQSiDm6mQEohUST7DLICYcFQvOXoIhdm+Kk4cCmwLlXuCMkQidM0ThmX4mrTtmWcrIraUod7KLPbcKC2x61TJMxP5BF1xXgXdczawZU2Rp4qvn7HxRRV3jjf5x3iCz7syp19nFjuEZI7EyfimWpT84fyPvTfKKyfpVIV3t+r8VRTo6/uVNl2P+TfFD/Q3r0l/OX4O3Nv3QMXGm7g9xLkyxExGUQZOI/PhbjQ6bZu92vOj7zslJp8a5fQqtq+4UNYWW6qlHwsiA3Mp11UBqrV8Y/okVg3DVALrf75BJPUgZ6VZZt7lZ6wV2prx6AmkukH28O4ksV8jmL/jvUS4EjTs058yJcVtHcFETNGcsGN3mf6Zch9r4FWuTbfsguKwecS29yxw5DucgR05tpLO+xppT2PDcgQO16ef4ak0JR0eO9W2Fui6NtzAmtkCUNOIN+hhRAqDbtxPHU56sVbN/hv+YnpNG1CA1bfUrUgvo4SNVc8PDndb/RWq/qgzYRfuwRWDPif+zfePpptChSqrVBhSrxW1jNSu4DybsHcAEulRv4b2rNx+0IiJvJ9+R0mn/XSLcZJULCkB5ku4W9f0pjOvTjDmPbPTp0RuhGXXBezOSbxiG6peHivA9NhIdLVqcvoT9694OwldDEFsMqBgo687yHcXLW82nXVAtDcvkmOYOSRq8akqi2Zcyt0szjBroivfzxcL8+mBTtOBup9du93aQbWzWAvr4z/2WdDlSSevs2FUYS26VGDuWKpahgSpj2aPmqZqE1duCLSReAb1HtyOJY1e4BdeBJlbNQ4Ke1OfFUecBJF+GjzOF9WPStMIFeDgqPurnSEI+ThrGlwdnWyxqoFfQa93TDDXGH92PgMxvzZKLdX1x5xQy4/S51RZXnUkAzu9UFYETh9FL9XceKEmJKnTlUsaU8hlUZswvvTr5uDB7fGnIp4ol7YR/aSfWIHy3PaZyxE78SZBKcK7uJL6gifpQ48UpsobbWEdYZsIQO21q3u2GJpkN7yvBgp3hLkSU19WZ1yXOTtszsqdYoN0naVfInoJ0WEtBxXd3Bi6PbabrDJj73gEfzvCPiUg0TA4riCgPe1G0QlpYmT2LHMBH6CscNuvqJyFNq1dWS2llOIKGcMxfgDJgg5dM+LHvZ9aBIUFEBSWKsyS2NG9vuVKVmSOFo/BTv/BRDtERDWb+L5VgcqmhE5Q4S+ziUy6waD4fZij6EXOqyaB3hUh1k2a9TI22oiuX6gT7jDd/lsJhxEAr8V9uoDH1SF8vEYNkvBdIv2a5jSrenVW0IuaXNDnPaiw2nb3CrJMEfDu/N6UOQBE1wvG0xZ2acFNedhAA2+VaKEIltmQckOvNJW0DYdZLJILtSVuhqArFQA9qRZS7BJTVSBcG6ZEFEH+7YgSsSsZqv9eIX2cJOSYs3KlibZfIFiHRCld1qTzt67jGVPB8PV383EWGQr9vdCWoLzHna7+eyyxsx/4NbmIasNAhSIX4+hDdtxCwgCJN/4HAlHN10EVe3YwCqO3WSdwBimerwSm+0MOTNxhZY3wI6HFaO3ZHFfot3Whldhl+0D0bn0JM17d95ZieJyDNBMdD5fvdqgzjmwws4O5Em9pXX3JnRFyZ/5epxm6w7jnU39u8YTNN1j9Pum4Ifeg+WxH4J2mhJZeaw2Jcy5TRhEBDrxE+8/VljTtDC0eNNm8YRMOChYSkFIpiWfWmKDzxom4C79FIo/dDndivg3CxxT53MiYi905tV8gfXIWCpXHnMtfiAY7Vg50Nu7gx+W41PhfR68l6+RmRqzRLNYjPTEOvbaA40UGTXOUtVjTzBQHloekN9Qe4I1LEUHnzAZoQOHm4C3ecA/cpDYUOhuT9kZOebHw8/WPNxEy4TPhH3t06w3aB219VbPfiVu7Ep64oDZ4mlXKG2Py+IAEg24kt8ABCTvxZWPhgdLSURA6djHs/cAoUj77sC1ugFOxhSLsdcG1aavsmHe5DtmPxGv+rZpprcfJYVFMFHrzWsRVrhfZjIzZcIsTLg3486JD/lCoE/3vK3DyK+041h1xPgnT5zWOWUpssua1NcutamGcZTJ6AXtgciK7h6KXQOt997xIZeMtsSHxeAT0cvg80kGSZDtjenK8qh4yVn5B9m/NukG2/2h8awE5OH0O/paYjrSvytVoWFAX+vblrhcMf1Ow2NJgwWaJ6lKu9tesyxePcOq36JQMJm2ywfJKDXb/+/GROP7jsEg3Yq8usQcopkdLm8RA6yFKaJCZkrifdrChiv8UaZ0AZuyOt+PgsMSR+qPf94AsneULk0c7YOgGwsDEXCHWXIqfJN1OkfpXSZfc9olNE0dHkIHhXcWa+3zZi43E2FYi6g0tTWTKJcuew/7EA3D3WQW5CoFJvz+MQo656r8JGc1RyueEmxNKgxbF7z8VBdanmg5Rf2QPLhUd0pr7coa/0XN05lwzl4B0qZvxk0N39vV4W0ZwrC5fWpBfmjW2TVHZxWgnslYcgk6eHuo1JJJyEEaHy/2GhfhTaRFxBOhICEEgySQ1CvKsXLrIJOBrRRc8c/c3AY5Ap+4gjHzpsjVDzo+1N3LB5IBGABL+yL5kj30S9OW9IDqjK/5aWLuODN/5yk+mkuLFW5Hbg9aqvkqXwd0vqQewwkGA6XSO5QLhk4JQRmrlcUXFMfn0UWFUaTc7ArG5payGInNEjPy3mTIcKnzqlhECUP4ikDPatpuCayHAOciFNtMDKdKfBwsFTPyVj13iYnlEb+ykmn7CxDOeXR5YBbLD5zJ87ZyCvcgErWeUBsI6ORAsEjtmZpOrHTDT8nu6CRvYXdnIjcK3QdN6DXJc+B+wj6g+ufOrCsjG5y5H94SrLlX6Tim3BmW3ZDXvJwOc0tZ5jSpILRkNfBoAG4lw1iORUDDrNpjk9MCt7/n//TYUxTxKiLrKpAA7hrEEEoPQwo+IO7CvLtmrpq0kao8qu64IzvSSKH8mUafXboR5MthgQeNzJ+j2x0ttRUFXIfs88zBORuUhp7p7W2ieJOeaaqoPgdQOdJ9dIFNVtAwYua+SYio9RtCljXbXvSfgK5WB5b1gj6CcadsIUz3Wy9WIfbUwGYmRHfmLtOht04Ocuyf/LQRn72xbU/GJ2hYJWNj+4yUVvlfcatfJ//HyJWwNHflXRMgfQFgBJXPJe026KanuyCspeOval/+yRAO+nEXezLfJUvMWoxkGzVtEOxrtDQs0y/FmWVsEL9dsSFM20RPGOjAhuoQL0QmFgL/0S3tjFm35zD4psUzNHRTF29sc/iWwhqJ/cRmPtpqNOGpfxBJo16vMmykpmoCCVRpRpJdsTu4CPNM6PZFplRMyGeI6ZPfuQVMMssCe425qruU1GwTBCRTRDDkDzZGkkJbxe6QUfXecRlklcmP5D7eyEPfgWd6IuNVdf1RFX20yApbrDRSOGRT3NziBEbh2zhyKgqq8UZyaRe8o7QrSa8RvuaGTZEe5s3fUz7FrP9kzufcfAP71pYtfrnqCdZvQJwwG4BrRMW2zhmopJJO/p5Aem2dtkmb+GVYwF86jGkDmFi/w9Z0HGdkp2p0MppepSrNMnZfUY+nVgvgkl0cr6Db2fZR969Ty6JblLXGtGyiuhPxV/mfq/byZSuOkiMVQhdSMBtT19M3nmYamB/J/ix56adHIgxwlNxQoVDmFq7jgO8bFzmtNimi3tGlWu+/rxTRZyKWfb7PFQALit52S1MTp4RkXOSetQGPRt9Q2DCgGDr2DPuJKcGJBy4ImCh9KI63LaHEZuyi2c9iKTmsHlh1Svl05OMXV9VO2PjFsyqVDk3mXzxP8BtIcL5T98qx58S/vOBgHvglEEVc1vVVgsQKhrRS4CPGMJGhXnFts0ptzDrHPC+wSwyXvgHwPv0m9ar3BQEeyS9bOFKvbb8GJM3QhGkNSrrBD7ajYtrvgzayXj5uozNYaRP4v29jN7ryzr2Vq/gi1QiFMDL/3MezbpqkO0Dgrhof2NWDPTpy4piiEKkmELMvbMtGhxAps5kBqcN1sQSRO0uF1zuSYUNe5T+x59aKolu4qvIncB99NkzXxgox8oXcqlltyTWu+hfZkccKNkY8waWRjTgR37takh7Wfl2Y4MGzZFZIXu8HBxmmil3Stos97Er4yZtauqS/Jy+trkv+SmSmxjhmb7lPSB35Q4DJTFJQJFMwaxDYD47sCSv1tK7Iw7YdQm0zWz/EEEgkBEhgmA0B7PPkt0agTNpXJjmgv+W6lpJamFUCk4sUowLMLNOkYXZIWdBXXgV7H6+invyVtl7PD+Mb9pY+DXxMNmwr9eQP9jaXB+Cg7KsciSbXKFNl0uDTU1uLmxRrJrO/eMumxLjiK73o/4P37OPH5fj3SgcwkUnj2Z3MUwPAOXRksYTCaaetsBN8S19QyiANuOxdYYN31X6fNsus3+YvYH5XBLVVvkqRSQf5I2Ban7cQU781Xob9Z3dASrouDxT8VNMVvbpt9S0b6Iv44mstrEi2xmq0Fk520rP9gUghUSeYWeaizX3sAbbHmiz8NoxNqCksrsvTW/jbSNh2bqYWhesunMGexwwKMBMs5yE7wycij30EW7HBUrOnuPlR6RG17fS2ShEtthTPnZqs3GOj55gLhRdvQ1DjXvWiG8fF7x0PZZJ/IfcALxdvjIeg7IWkq5R5t5hWbqS9LSp6h87HbA57C1EqHmhCpj0KDYt+tazwbmN2gcRGW742BLlk6lQAKJeGXFReEls58Sb8YmIGvXDm7Sn67x18HkDi/DEF11DyBPBdNEBRWLexcGNR6sHZZcnbDFYWyA5BtsC4MSpKCKE7XROMMFRnXPMqswP8pb+2RKemo7e1dJvvsplPe1wwNMzCB7VmDSKaYFTznGyNCQkvCBKd4k9HkAIxSmLUxCABLzrfN5D6cYSoDq3IwvASDhVWj2i5Ejnx26WkLh71cyJsXnLRvLTvItOUAYzzqkr+OUqtLcNdxSzgmjQhsCTIOpk5UZVd28UOUsHV0ndlxDk2DzmS56foO09Gad/bGt6d01WC/omSfBZhc/gyfhPf+uDOPLLfCK2EmDhUNqyjRdOyUlMYHAxo7Fj8bBnfu4Ln3gSkyKdolm+wRflLPfTM4DePtp0IDVzLkAZOUi0RIhSVVhv2VJMk597BYwSLkD1qAg0oNRl6KqDLTkOOAes2+2J+QcWo4hhT89jtSgPDYE7LJ1l3T0Ar88JBsio93eN84s107o+7hruZHHOHI9yYop8+MO3TozMRaFPov9TuM0J+rmUferwAkQ8L7Lwkd2hmUoQBjiLQb7VifwbrJeKItkbDNBEEt2XDU2q0Q89tqYa+iE2GG58Q0UGMi6kUmFgwoCPvrUj53y1pQmI3Hd1X6DchgAfDglkJ0JHu5Whvp4qr2zvutNvLBKGrXHAIWwx/wUhyYNpK719GsZNsRKs24sVlKP4xHX8Oh109YYJCG7g3tR1qXhwdgmmVSaTVgKD8gGGizXrmzqq9WvxX2ug24x2oBXTJ04V4R4Z3WvOks18VfJAhYPehl9tWURUZoAwhP2n7d64TnPaBFQsXJfv90jpP6sQ4mLst99S/z9Y6M41D0FjruCqKlhdGGNEGHdOoU55q7F763Zlp/YKprzQ2EuFK5CR3Xy8Uh3gxiLl9/DtZLezRMOGYIRo+JzyJCEiEQ0ZFnNa949GcK7kd8ucdmgvJiwtQq1bglhrg+yVpST3DALHM580Vy4uuamvEkX+V+InujHJ1P1NJI5EhCn9OHs7sjGub+CmfJTKRQsHcOc67KQF9v7fwgdxDpPxSc7aCDTem+zZ6g5EPqFHRzxCK2opToFhxoWmR9CMUvso+mBlhln31btEAxz0KTN6r8rxEjccuCveWUeVepbo+WzXStKi2PRycc0+m8ztlkutwT7As/5LCDYWwH/m3uWmzZgUVn2c51ANN1X6/1Hi/8zCFFwmzu4LZVrjw6fsWO+pkvqN8Wk4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JtXB7Xmfi3BZlo+AgV8FXOznk09Q1vckhqvfCgMVoN2ZqKJ3xqSaKOvF/vc8cVLicHU/Re9+4oHnKLlvOn6CNoZjfUZitDgT5urOrRWxaDL/OBH5pYbQZsdsD+r0WylAEYYZm5dhgkSvEMzJ4xEsVmRWl2C8LZXJK+aF8JupaCvqOASdlYnlfIXcZZWjuEvQyRCkpiySWX9pn5O21DaD9Recvx+wg3XgpieHzXOdlHMGTvxUgiPhYAeJpGWGxUFKD6RctlZp4rQiRomywcx+SrIgZhabHIuuSduXD9rww6g1yNhnbMNqvoRUyXyc0NFvA8wX5Igz+m6x6XDIBnvhyQXT7PuVYje3YTsmMtGJ+SsQtanNpf/Iay1rHX0MVkwBb4Fd+vfQ+SbyzjE6hiOvS9Lc1n5ohVyIu2WwgSBvyxsO2wZ4gJUZ/Q2ehsjExvpTG3s9d1mZHeC76il6H6xfCw1xxPaTQ/Y1TY1DQpR+wR8A/b8wV0SsqTAVGJ7s7VDlyS4oRqbOeIf/tzwPp4noQGdWjvO0Osrnrk75LoJ/fGqrD3jh5AcTAvl1RvlhwnTjFc7co0b5c9RmkX85L/20H+HJK8estBS5JduX5m8c+ixXA+FfF1VnN9UVmUFy4nsUarKsH4Ac1NB9JEYRM8TkACSU3A++VK12L4odWGZf9z6W2/htaiXWaUCTbM/0rz2F8FWyth6xVVg7jciZKkFCgqBZpEQpn+88Kwf/IZ/tiou6jvgngYFJeKPw7mx3zW9EQhEG9kmpEc2qVxN9hFf3uqg930bn6R9xA12TXByxEcv6XabBNhWktxTKc059pRQ4/n3zyjUt+Z+ICG3Va9nqNw0Urg2alZs9at7uGi2GSndsuIik1c2scMA66a0U/GVslc36USQyzxRdBrf2j7NYxm4BaOv5bP/O2x7DTYn+InuIzlRdiHy/pthhr5wEg6PCCBsWRlP+RjUNQFGVMpO2WSPZokY7cfEW42BPDvsj7W/cwDz1rPYWoT27gpYKzo55IkU/wFFb6CXahyLC9XVIBKmTrVnatFQQGvJugSgPQtXTqy6rU9NRaPR1vYpxNIbSjO4l8ualngl+fznkKUm1NCk7nGioVax7n4/8LX3Boem7nNQvEjf/eZvbD0HVhG8xoXVw7R60M9f8L4p7PbD0M/cg9NlGpvCy/1nbroX4JHf080P2o8O+ftjS5DyACIKdwZ10NKA1c4a3KylO9VkvYx9fQ3fV0TGKq3Rgnw2/cydK1yXDHMozmnVU0ztqttqiJSIyqYJOYMBdHh9gPHdkeqiD/i7WxN4pFBKVWjjuCIV8vd6j2QFk5A7Z3qwYY7aACAl6eJghOqf32MX6HO9VcHSOkamp2Z7fQLNq+lLxEfXbvw47Rj0yIwIJagPBZhYiKHPLJzsFDPjvizobclOOT9TvOzE21EuPubK5SVZhHpOsEgp5LaG+hVUb3yzVhh8V6Jx19OoS1bESQAPxp4L5pnrp0trIeKbJZqoY5A3RdPZeMHoU3WOTySHLfE5bXeDWsh5zHxe7su+gARZD+8Otdtj4YId63D6DHCZdux44Wr+RTUk0lud2+sd+E1vBMFs/geobYUxS5AFbpi1RbGEdVBAVHxfkIA+D23aOjgQHAsW93WIp81w7G7jcnGZh43CMccASHfiIglMfiSYvyk//UrzqGz0OWnHFsy/al/SvSO29ErKj/aJLtixb+4hXTD+dziUBTFfa+qihoQeTp2adgtYlT0hc027ZqdLH8CJoI8OJEck6UlqK90x7HhUd7ocMI/XymH5nBP+kqoxY5pz3fN/MMByRFAdQ6S9yXaDcUbEmaq1Yu7OWmDiaeVY+/4WcIZS+JDaLl+JRyhMx/c9xGY201ShCGcwAbX4637rmZ5gp3N87fC4kjhI4Tr4pUsTsuuRtQDnEq7c9TPs8Kxl2/i/oeYq3QAqAHIbsFnBlhGfoEM7QfILvPG9nJxQXlbpkICvMAbVJjqrW43osJdubJm6hZLkfKv0DTTjUNlgI8riGYOYhhBsvqAh1KGIKKmMexgSKzjun3r5IFy/uoSiA5hNGB0tOCBaTctyIFxDs4KpHK9w6yOFL0M6zEqNsGXnIAiR5cJQpk/YyNiKMyZFekCVxFtRXzIafT27a+jUKzlBYx+8EGbK6eyNHGcriU0vEgrqAoxJzKLCmuAjsYlVNsPDLpydwvAvpyAfl+cTb3D8OueZ1Wnt1WV3yohu6vnzhbatr9BSUJkr4jICrEpFynxDIEoO5328IvbME4n99o55LRVMt55effRT6bcxENodaKfgXe103Bjl6DdIIIOql16C72nJd8I9j89yzRv2bkb7mbHDVx67c+KpxqURAOLPHSExxE1kM0RfVy1bDWFfe8XE4lratDANzetlFMbBP7aTESz5CteD9Fvjfnw+yT3XyYLyedzzMxr7bmsPOZeGmbAGiXVU20+IB7idnEpDorlNJyt39+u+cJ6V/hGDGSwBB75E5WG12pbjOgkr3XoVh49eUFEPFoea1agIV6APuj7JB6glAkfv6naNt8JNGFh+W8++C0A59nCgKttxA/GDUeOCPOih8pmz0PyZsnJ0j+UcJUtNEuIky8YE15DljL/KCprMLSa8VdXhnazsl/B82KSj911DGfxDlhcc5lxVkeDD9LcfBUA1+rN0deou1USmR4VWWCDikO9Ox6Irq1i0MikxZoUeo9248y0zbxl88mskhw+zk3CHV6q/jI4VkesjspbgvsARg5SONSKmTjIb579pqMyBFG4/h3nQQvz3bOhpb8uUse7ULoRyJrV8ImBPBD/DAnM8V85t+8aygA8aD2M57yaLoXdgTz1dODJQA+Za9lx3ge7VfzTMHcZINCVlOxEeANAn5izw14yZmM+BCU+Ni/8jfQdH9d+VSK8P7/DRkcbELxrfQpQWHiaZD59U1/YCr7nTNaEvsVhL8GKVVuDm18BD8ETZmDhuTb1SOwFP0tkPH/hoxxHNka+Thgkj0EXhvSRfCjs7DolOPjv2P5ZAC7zk4fm8DhPOsGllOBftUugFLHOWWoiIqtkGvFJ6fuWrNziWf+3UpKPIOtA4zObT8M+q6D2rBNtFPZVBrqZc7X73S4exl1eYoICavkKFUDyIBSxNP5jXBtlvBAIB+VvDq3Ccd5M6kBUjMqJZyFSIuf8AGsCUluS9soJyGjFCorO8SP8/swiwBe34DVcUdiB59PA0nuv/ci5Yjt+Vbc1wv2+GOfdD6KMUvo5SdJwlTKWLyN7mBs3znI6mA1I7J4gSiUYx6yzm7aBt6MQMkBq/8oMTOEZFschjpbdSSGp6U193FvIP/0k3WXoXhIA2LPQMyjUWz+qjpgGVMJptWIOjAR3OCNOVD0cAfd5jUYGc8k8DEtAGe7cky6bh4F2TzcFfH5Eww4OJojgmF6FKISG0nmpO5mgYYB4d2Ot61k6dK8ZdsxNRtpyjamlCtHlMWDpACIDBoN99XQiwGbEQVK0y8z1mfSDCL6dDSSZ9dZxTIVQj96CepsfY2g2QIvCmDmYhZta8V/+kzMAoFXUVyjURvdsLM+nIT01TEeiQG4lTpA3VAw8jVAfbXJWLFCbZ32QLBNMxKZD/oCwJwgL82ia9uEgi82Efztjd3qeS5mJY3vMbHa6sJlTGc2GGbay5MnpBDWtPPzbQdqQEuFo+gSZtTRlf/BPNpascA+2E+UC/tCsKn5LM8Tc1Qgh+b6ed8ML89Cfsl3kNEr6exWL3chptrFYPwnv2cpopfNzGu133alP7y8sMDiU9uXWyOXNO5EyTHE2BumkxubHP2UKip6ZApvicvAgPZt+Ih5yVMPNuTsFU3ss644Zd5b0aKPwkgAX0zoVpMREo7HGLGIC33ZiUXuF94HVdBX5po1c68U6tDqswQCPFqcWF6ll98/vs8qMEkbdBSfpVOKFzO2/BhQl11cDu+m2lyYB7dTqbDJPg9jBq3PuimhCBiGYYgBS61m3JMIa2yX7r7f3PN7z68rW/mksVhXrXpFaoBZS+UAPGrfKLaGvY9y6D+Vr/TT/nCJDuH5Un6V9rlJS3mzTuoTXFyw4YTl6WUKQRH1O5f2ls+bdGiHfoy2wdcF1o+ag69ZJv9XojNZTJF1K62PWip32eSB94W+nkqZorksKxsVPFKlmWVsAiVKzk9Aybny97l11y1iIGXzZWSrQu9hDv7HMHhqqFL5z8zewFfDClST5N28pa4MDpCBignWsDhAkXsBlSZm7wayCtUoDaGGeUGKKaeDiMCdxSMWlV1HrDhR99kTTe+q5lCE5QLSyY34E3zuc8DZ+4p/UrCSZAirchIS7eMh4h62xvJedVF9vTaZIOzqKoEi+qcVF9Ar7m7fZHSs5kPsKApqHFoVcdAmduRnS1RqvKhznBenjR/ew2wTXtt3W0zlvxcMfp4aKrGu9pejhCYMTMLueoQP8luyfaUcvWtJsgvsYAS/ic99bdmYFLn/VNXsYQLlfIPme6lnv5sZFZ8Mw9M3ZH85CWZwLMcE2uReFQi69N562uH54c1WvhwkBCGr9bCDVkdyC11BI+SlX19SyzQx0ciyiHX5sgu70+DpQz46IOgzc/BRkYvf3h8H8GlSlFMwWpnkOpTJbePk8bSFf8trqJJ2DUZmmT/2qtQTNL3TMh7hguqHhPnSPBw05QZCiTSxemTywK7QCe8Rj6fTfvYVZiZE6lfc2xlioZ/LHTYSJmI+j+n62Ey9lMrXNIun8CCz3F5afhwirv42T+K67cooEn1QNvn/IOopcz7xFxZpTyrZbLa5o2lQpQ8jn4A2XHIFl9NtGx3vyawENtnRJFKze8iR2q1lCV77JQbeQKmX/adbBjDSyEbN6Kj8nNSl/rcRT0xOtVizCeLtH6uBahoQPur3mmBBVkrW3kKjUpkRw6YZfbECQnxuEIxYNUX+uQuW8tmJEsiPQ1my7BQPhCTgDYzHhnC3TQqUgzsWj7u7eXW6dDzfQ14QRPgX9bjQJ8n/EfRZz9RbM3Xtvu2SLJ2W+Z4mmbiGcuXMF5jo+jQ7m3GPCS1S9lCd7MIvT+Ixqtxaa4t9xAiigulpQgn74Mh7jACXrExD+3gnKxmQhTMLZFJjUzigIoxtvbJs9J+2fpra+FpzbcYXyFiLAeQEa3I5N5jkZxO+9dPzI+VL3gIQ/xhMNRJP3jQIzQ1/hWoZZu+2tN+4kmQplc/6MpYydiItiKoKqmRNc++Rj78bOwzlvYtTlVnd/YrLlC3GYt3ehNOSC6PjEv8X2rKiT8vS/2PSqf8XqFNtcyIAOwjoRIMwPB6aG0TFMnTURI5o50P9oHPI+TPKeFR8fV7KsvATtnv6/UXcJkWhDFmIc6irUobQZjq81udggVAzuP4GP6ZuqbYRkD84z3HaChpDbRqLXYJLK94gXZWf8KFdGZm+fAFFWgSFWdMxCGAeBN20QoXPOPvSZBOLSEyBSaDALSo+SKaHFD6YhpVQYtlP5ljHHiwuu+IqO6hppwM+4XDJAkg13VujF6Fme48045SD6Y+t24s78M0j8nb8vKLIENUGiiWTbAVI1tBqGsyf64SU+27SeQ/ET4yMuGIIzmqjXpfYVQVwDQgh1eN8xPUForTFZv+qfpN/QxLC3WNcH93raMCmKOVo9KNK9kKJPmxehlU8Drw1ZvtreLPByMmZJ2mG+1BuRI9/lQ4PfdOy0oZWDJmR4fvRRdCGfZykiOyzG+qjtrj3qZmw6jTOSCOrZXuffW4ScMKp7cA9Oalxf8+NavFkE8onAbzLPqo2bj/KcVdHKKgh4NkoCGX8XMntHPisSS7zyWMX/RcwArx14V4yFfP9/Hf7UfhM2YVxW5jMP0m+WPk4v3TKL5M0Yne31rJ9UDEiSlHB9JC+m2G8gIsa2nC5j+8f2YFiNPyR5qEf0QxH3MV7skOHSDSqTMX2kkZ12yT2wpc0g4DPFr7DXB23G16Dn9mKv7DqroJ7I8r1C1O2BOiR54Jk3fdNr1mFu9jNjY0Jt0IZidlx7+rFRTVIeuogGpU6H1WIkf9lU4jGcFpBRy0kH9pzZnMH0mFMhCYYgAMsuDYzwz8I/SxCLywiIQNKwycRmEg/1qhda0VKTUYphs235AlZ4asq4P9yY8D8uuzt/WUT3wJcgwFtx2z9qU6HiafsjWl5tPn02Gzqej8x0eeD0gjy0CBwtPxW5pM0/XdEzFUlzcLU7Sm9imFh2vxEEmAT3yhZ71z6/ZMyECMoT2/L5tXpmmpF+tx1r7/Pwdgv68NiuoRtZQCoPwRoM9Xeh/Xm9NN4m+s705sx/S2Uu6TYVyOc8bueLyH6/FPOTKBTeCzGZ39WhLuOVcHOfTRItLqNO1Rni82UDhferNVJi6HwSqFcoKCHT+71sdELFiswBX4+cZcmtD+vZX8hzlaBTqqZD/3f/i4aLlrR9+YejhuOQ1jNkBn7rz67htKfXUr0fI/t0dRnZJG199x265dpQ7U8sVXwKcyO2CQyyuWdm2MW35WHAIT/cPaWx0QIhDIitanceoZH+ryijeQFmsgRdsGR/ql92TzkAXtQfqq+1uVQ+b3GUuCDl6tbAZgJPT6d6amhvRoh6KCn8fBYkIgK+7eC7XnwN94VbKROyVaHpbu9IArpYe1fvQiWV9zMQT0k6zgzSfr/evPikgGY2li3gziMatLBNprA8xi4zbXkKHSVtQHeirKzy11pgiEuRaBJnKDGvNHBLbgI8ucREdS/FoqUkgdV/eA9gjPvIoYmA/ReRgN8NRJ9MD2ZqI+OTKi5qeTX4EgpPL8vgWGgY24aYvk+kV5cq8AreHsCl4NI1UrFSH3pYMuQ7g2cdE4yyaOVI7K/FjZbRzDL+AlL5ic8PC1PwJUO32GFnPz/m0rO9mUO89sZzgOXPmvw2GIetWgQJ5U/YRcampdG3KFyR+ZpI1olQgiotXcrYEVRi9pj8ala+yefGmk3q8dmNZZUJ5rSSsNBdNBad35vvA/JlVPBUDXapT0OLCmvIoPNInZDi/ZGE1c+3toymGrXUQYlwYlkrTnThxgkGWv9cpaxqglocdu1nXKkMAboxazUg3FfxgT/38nSdYUicAdwU/PTbMEk5tl3BFZFlkJnRdSdbkCFC/yGgpkEgR5hiJOZKtoQfNMpfXf+FmyNi+he7W82xdeDTdoiunxpW+cK7iU/yZIKXg+H6B2nAycpAs2zuYJSQZpM6VyEiAD6VghJtTekxQh8equtf0bqE/Ws0ThT95dIxkJjYrMrjGsTZZjLIoKr3jNVw9LNkumrT+imOJq+kQWjFz86JLkDv/nW9LULOgxioC4CTp7iuv6vVRG0QvhMkzb2pgDovzSOj+QMQCsK4xP04bqyTyKMw/bfvKdlh0nJjvPtiZmHgf2EugtVSmawB0NVBmMQWckyuW4CsC6s+IxOxqxX8x0gDjBYgYhjf8+LrbWLI/PLrblKuAHTq25JW1YXo1aa9HPQie61qVnYuBs0EPkIFCjTIHk0ZBgF6bbvSqIelsnrUWb9tvPEQXujaccLrRuri8Uw4BuwN5AB99wC/nche3lWCOalebsFasTlmmflVDcrWVAWNEox/cqyknFvj7VssCMUFlV+nHOvmfCUF9XIs4eEIBgHG23wGlC9DFV0A5TWh4VfC4HTxMsDfYoLNyW8e1lGCLsPrSWlio+x0BK5tg7gyMB79C/XGeGwGp6bJGPkCR0ma0WgPzUme2nZ//8KjzFgHGGBDfql0YIP+ThGIfaQz0m3GWXYxEb5dLF1HSNdKoxM9cytF/M1Q/evBLHVmuO3UgnilTDC7pAuNBo7KoeFLBiXlG7xHaGKaqNFwbI6YD9EH9BMqTG5uL6uZXsPJB65WBeGEKHIFxdg/DbjNA0K1CamNkzVnSu8pU97dCDN2BEF5kd6B70P74wCej+IwZ6dZnPd7wD2uOAtBvLkHmCIuLRs+tLdMfxeQJ4u+W/dmccUtPAAltlz1BvTBA7dYzh8LlLOSilF1Gynuf/TLEugsnQLOgu6t2Dajb0T1u4TzbDprEF/1UZmMAJsTPXTpYInQZMJcKmIgIPOPmQltz2rPvodhGTAhVCfTuOmFXYlX0vHQl9969bmSUi4qmEbG++pp7leepN6cUHfs6SGELSveEsnwll6EoUQSGBW9FWGCCFWHIm+WYJgeLFQ8chVk0TynqnqqYBNYcBZ9cfKRDjya8pJIQrS9HGo87Ti8IAH0Yskvhv0EtDy9zOgBQ6nSeQ5UGHrWGJJDVBzcpe4ziin0ZWsktvm6y02nSwNiE+bFy+Ph5MKeE7UtV7A1N/nb7gMeGQVENILY51YF7pswrphTLhziux478YjOhlIJSVAFTVbpb4VreuVVaEBLhFy9lGq/PrpIGAeniDqhsuM40I78uL+DGvm/kcRKmcrXUCn12VFCBDTxshROdvWy3L3bqumuaTXRImsq8mcbi0m9BvLHuqhbhL7ZBxcXO8uj5L7GlZwh/djLY8D+2VkAEgTKS113ChnyxV/I+4OwNktUyG4HR6v2r+LKWeYgx3+Z3dGcKLo65pXZuXVN8PKpLrqiTQ83zLqzKJxPgHsbCblCDUc6TMi+0EkFqloGKy7DRLiQs1mT7EOYnuXwUNfcAkLURyNR2Hxqa+CfnvfZgiJnVUoV6rA+WcCW+sJ9+Yom/6VrGB8YH2suFxRbyKNRwUYKZ0uXjOBULZ3vWXPtqzC9AWKTJyS2WD/QWqyZ0EdZNkorjwc5S6r1Gy1kCwre0c4lJ5MbpE++kZE7jk0wlkRmAyWDe0kFW24Bv9ZYo4Cf3bO84/1ddtxlL+Stjs8OjW40nkGJglgMR2IjEuUrhEbDB4mumE3Z7v8NIh+6CyFZCoGRZlQKdine6Dz5nPCWaiivnaAJ2W1vF8z7CDCsjbxkHyc55biXYufBHw5j9TStKUsf/sh/F5dwoYl+xdNI6WCOSmEPE5UftlBipS2I7vyLjxty/MNe/7NGOB9NglUwEdPBpNm5nm/Kg/RN/tqSVPHvLTEr3vVeVKiCfqx9UQ0V/7uGyZfeaIeA/YMuacO/X1d4xX/lWaYDM3X/jR13fhp6uxscMA4qIYS19AuCxeCPr9Jj5QWOxoqEoPx8UKDsd06i3lw3R37L45uKvI0+Q5Wlk1wnl+RGba+3/4clqvuhauLDV1X2I6w2gC8l9Zy/0aGiFVbmLWLdUfruzSD74LcGpW1gK2DUTH2MDZivV7LWhxQdYQdVzeqy57tw7Y7SDydR4SdmbDN8X9v9oLK+yQlK3IlxNguCb4+IJ7EfMpuhoUnV5mA7tCaInULC0dRBdPvorqVgfigaA9Oa34sUVOxRiAFbz3CsDZ6+hbq/i6KIpX5ej0X0HsXaBXHdAMkYD/p9EzcsMMFhogGV/UAIiobBhJTfhgf6r2xE3MFlmIvFdHkEzvJJam5wCyaPUwIZW7WFETWD8VIs5SQDI1pyO/dr12ipaCnKBOuHYc60N3bGAUczEYtmt1rwVIaj0Cpud4N+TY/OWVkfPvwR+HCKVg1/TWWkK8b23Z6vsno14Z7T39mkVyVMsShhyhWE4bLh0cOpK3ZrXVRFdLvaOVOdh9dZUp10l6UWtIBuTut3LIZjgGnL1z648EfyUArOOEXDthglCg2NXAl9PP2CLvN5d2U6zIl24cLK8Ui0V6ukQgipu/cUz1llRP6XFyyweqOUIn5sTU1LIUZ0BDwzYICWrCfzfzpsuzqk29m8wiwJdgupbDFBecyBpvMQ0xzYaj04/4Nzeh2fYD2gJc1X8tF0r8Jd2ofL3dn8SLPplKh/M6GaaxVSIPDMuQMFwF2bfodPWNH9ZD7llx15kqq+BNx8AQdvvvLKvvYV9Nw56GXia/sSTPCEk60yCUrStqFpl+X9cGA+hTPBX3eoSIMGF2fLZqjpFZuGLBnpvQa/M18cff+nvLvNfp3w8pjs7RMg/Bo+ZcOJEvAYhLpnUZi+BQ9mWhDUypH86pgvO5e8ZZ5nofH1tpg1XET0STwbQNfCtg0VTTNg4YO1Y24lVi2CkSVUKPQgD1pt4koPqAhlgxL9HbJrAgpSQnV5IcJetawZp5Fgi4bjcQbAyJMssjD2L2Qjp8Nlv8vPkzrVU2aeICaSqfQ8qrv2VH5AD05LnwlOiTn2Vd5TCIVmLSLvVwrrztsaDHYn/Dv9aE91ZaWih0DCOlLZHqUIKO8f9akRWKJogcgFaw50sBO4yaXw4eEkFHN8I6wfDcf2SFRZ8Cli4k/UKVJX+WJK88STI5MyXaLJY22nB4MxIHCDlPZGDFcxNPQNH0UYe1Q5Kp/ZnJ+FaZQcbUsc8e8nPPiJpCfJMXz7U7T25BgLvDshy6ohxIao4EJYYDtcPNp+jtjyTLvngVsN0CfQYzWC11tETtMV9BYcv+Q0peNKldZ+Cng+jnD0ggdkggkbr8SZyDuNtiGaCRpGgO/EBBiv89pnXCJtzYAT6bUyyq2heumNy77sOFmx8vMorB3WtoGbrVEgkuWdmiiRN+Ibjr7vm1jEeoKpE+RjgQN4NzBRTm87SVUGu+NrP9QH0NE1GdV0ulcunkUadUvggqoyRUVyxdCJeuvw0oH3bCVtXHJUVNJWYGlRV4PlYkFIRs9z28AdOvlDghXA1gPdiQu2a9E6GbK1V0BSnuKuI7UJKRd0O8756BPOdvlOleAreA/BY3cyQbNJmb59/7L+QkgpMhTNL3T3qs9D7ZglV2mOctySDRoFb6rDrsiWRL3Fe4ZvXJU56bt5UNB0Sb/pRevUMDSYwCU43+wSS5XcAY0z1VoJHe2L+oogNS+LDNjZWhVfIzNZbOyGIL+GWmgB2zYHxi4815cl4nHvQdBDR4Fpiq2JpqRqRPQZYIjsZoJhf6yDZvYIl5qOSe7pdx0tXWnGq3swkwOZsvXJEV+UKLZPMqpL0e45AZNyV2YQVnkivcsYtBpthnFV1FZrpM/6ogIb/xsXsbNJgdj5AKvhSQmnM7pgwGi3ZYEBNedi6nkM6WWlvKexl9GyQEqZFeH21eVSAgGiFlSZDL3qdlkc55spggmlCz+3ZLjoFyo9AqqutVT/2Di4zYd4blFCr6lKQ5hXGyQIFrGuDA/RZBoS4Fyo1dAjjDF4SlhA1VVxAB8sHHj6ZzQeFf7wayvrIuVXbV/rJsSW2pIHftmkjRSQVKodfG+rYKgcel9kLAW25xw7Bu/NcQyG65g+xgfAYrEIhgaOjbhT/miKQl0mHD0T3xXGMZk6BiMwhaV4mZCUAVvQjoorD2IcEYy267FKF14mUwElxf3HD+l+t7uOwCaPZrciKcn/wO8seUKYQvhEPDGwqHc5dNj0UgyJXGFD1RkRoz83eGNmemMXjSoC+74DPmHmLdVctIxF1VSsBVzCeyFp5+Xu9z3QeeKxRuaHmli9yGMXTrzqQvTWtUvN1Ab63kyyBqXsBOnQcWbp+3PT9M1Qg9/AGkilARsvG3v+DfMuqMlCYGIo8Jpc3akPJjJ3pVoOQ8d0TZYfwtcsbcJ9yR435f4wjGZwGUlTuen+qGFO5OXNrPIJUuTLky1NLWmy2SBP6/GBEaV8EUQ3WVvLjS58mG16h+n5yRBiyTAjoF1/QpHSyU2WgTL2sFFT6EdeAv6yKTAVco7V81F6Ht2Ry/ULS2UxPIgok3qJ9wvvzuTWALfD18Ha3EAZGXRNXKVTkrXiSDWOM7KqX+Qh/Jk351u/7e8XHkiKN6NcEfcJqzYGmRbqxpJ0DHXecBaF9/Na+yOWafi5A0NYdh1aGAWVQkgHItgW5dZAVOFFA17fmd82vujSu4ZENqB6CtV3vARNNqpJBtyO3QekB+qnUbqOGPridrzbJxUlQjpIpO+VP1F/Znu1oVsmmsleJLKy7Zc91JSdjfHbe9kkye/wBtxycb2fpBMPw2OguUDc4i5O30GKWZB9Z3pg0sh09A8gqKZxX6yt9nUW+EU3dD9nh9OA6FhOtXokdZIdtf/FV0lLr7/ougG9YLvA4n5WV5lIyfUD6iOE0Ny8Lw3rpcsylpsL26sUoBsGiII37/ZedVCoxgTYwD9SsJ4w5EP7230oiwdfpTLGpkF1Nu+NO4bkcGY+pTLbdlde4A3YBXeDk7PG8M6TX8HqI1c4hCW6uHB+MJhfFCQ9YxUiOutNfBN7Kj0EWr0q2dt4jvw6YnA7yO0wjN62LkLvMcie/hTT65vu/4VqxjUDErugsH+Oi8PGMAltFSC6hBEPGa1bpDWnJKP0/F9pWEqauclNExbckEuWADN3GWhFyPdWlczdAvRbd3jxcr5ZIqsCGyn3e5yRHdZdkNcIoEraIR6hcbzwbHJf3uZ9wxoJqZe4vFeQ6Njsov++Pof+nfVtF/It2HY9PkKLzqB3Mvy4+BppWuQ0oXHEIEO5R+NqdRR38ReguR9FxDhmAqMK1PSFr4yKvHW3EwR+WfLhsSXKdLtbRir3vV4aqe5+tdPYnC+L318ZfqtB5GQrgp4FMCHJy2K9cpDO3BVdTJb36Msk4Hm96zEjloA4wAtjLQc7+n8M70YycmP5f7JeQZjS5rspXNfmiNIS8pm/sN4T9axKZ7IIGlaPH84YiGLaUAYCp03ZpXjkN4y7hhIY5eBWB4eadIIc359kh0Q6rQLctJLKqYcvcCr31Jru9EWikjNE4d6qsmlQi6zlw++MUTcOrpMkzxnKxraCD9uQICfyitl9zGWaPzB4it7p3YYIV+jbNHKYNMlqrhBvRYjTra1BgFG46YfyBBWqbBboLfzXdzLMoNtbW000ZEmjPikpkSuPPp3h/L4k6SwdIqSmh+bOVUW5yf1fYDdbmzy9WmnEteEvG2vUZEB46Sg/F7vxSqmBYjzNwuCxgTw2/Kza6uk+R6QOpRhujLSb9sflFIpZCFUS3dE0fhMx+RHu9KrHTpfJ2fclvWYtjUOEapM2/TysEO6dviedBgfkkxitK2m0sLyd4N8g4ysoQ0zdoRji9Bh92WlCNlQ34ugQ/xgnrl1dQLZE8sLiIVZOworsFXXUQVx0g0gZDbWRS5boGD73KBF38UaWcRi0wwoSzCAB7AzbhizLi2uuHekDUv8ITihE05/W7eY8+5/GKauPQVDxp1XWtvSLdz36Q6B27e3W78bhDGz9u+6tHXJ4gEuGeujyjrU/0i3Uq+PzDySv27b/rXBFGugydC7Ay/JjvY4eE4MLKG1PTMmrJGmkKfmhQFKoZFvKcEF3Mp3/NKEwoXKeav505NDOGukJopd0/iDqrORoMXx1R3zpblD6wiVMo1whmt18Ap4kl2M4pL8H1WeDb2XN4dpGBiF5cYuFWmBHIOsbsRAGu3oZ4CdTdRlYgbIjTs802xe3TToVIC3dn3fumWt9o0oR9Kit+GwzE1bWdCdhmvRkRpY9Hl9ZU1Dlf5XZ/KO9bZmmQDpDq6tcZjrLxn0UySGEjYgNDurGdBA68hjzmbrDq53ZTHt/HGviggELt1sQL7+SSLlwXFMIPKXRR4oTq2/2SWwYp65Dr017+rWguY7VSyt3W9Bw1mXTntKlXB95eJN+QbE+pqRwykIIRA8gd5jVbd+zz4ncEsVCVGsMu3dNunYVVKKLWT489+1VxDJKCdWEn21WCcsoeXzVqsD0H+rEu9H4H+GzvKl3IEDKiPv1dq9RJBTfsAbb5YGkXmG/ZsImKsKf+hXtgqavw4MqXg/dSm5ObYVSu7j4rf4UC4MVVC5Zxi4siWtmAJquQhzKeKFTtr06RUUzCP7OCws+HFF4MLwSeyNAGlkT/7kbZunQUI+ewnRszi+mA36OIrGS7enJ9kDS4/YZFovPIST2t3jGZNmC+k4eU/mtk708kfc+HFaIVxOt/Wk6ZiuNP6gYtwo4PqPAcEfsDQxx40e2ez73je/bO01yeu7WVt0Y/nhmKW/EISVFJ9hP3OeZDX1OYbX8+GqKWWaZkTBD8yWiT/l2PYcbTRcjWwetcdvdAqtMzIHkd4SKkVRGOou4ZKNNDx4EkrYGJaQS702cAWleLN3d+O7/8Ek2oCdPcfoYg7/7KhRV6KvNJjkSyVIEYmo9UZ9w8ibrUEx4hMqUaAyLaP4Dx6oYJnvp7P3HQrmgT4K+nnR4N1c2LZTvTHCXshgVmXIg1zXWTlSl+J8gJrsuHxF/9ltH2zH/PGl6Tq9F+FLJ6dklGRllixl4pChoWz8oHxr6nvVkt2laMhwEJ4qNHsupwm6YNRnrYFQqHrDQ6t74KGayuNVkEBjIDM7/7cnuXnHpfWsOcbcgpU5nDcyFJoR6GAlttNSZsl94uqKej+hn8FdcTy4LKPAStpW22Bk7sJNY3K6aZUIolIM2ZPXoEKbRQcYnIzvdLCcp8p41QdHzRFGU8czrwkfw/LQmAOENZQ9KRPO03+ft6lH1/PCqnFSB2UuVkGDIw3YtY5m5g2yaqM3EUv3pJjdPHe58KiCAO7N2POzFWc85JaFtk74czm/Ltfk6eUg9dZLmzncc6QWvrHNS/55Gf6ApXHjFmbwJoqx0z2JwUR8EZZ0wvwInxg+ibUs1Fh3+vjSbQbrkmEwu12hofQf61L3Kn1ZYGe8h7ZQOAhO20+iOMTdYgmiO/nxmUiK3Wv1os94YYuRFI0LAU/ylZX6rT3DJ7W0/5oyY/8rxMx5ciPu0fOdDf3GUO7K80gzxg0tAlyO4mXbZoVBm++WifpNoEXK9icYP2T2aeEiA78pBnNNLyT0yhtKROl0NpbGbz9nBbC2Konp3GbbvDkJObDOVKrPBGEdOzS+0KZGFIXc3L/tV2xewrC4xP/xanaHr7wTjOclBqKR+F6brE3w0gL8tzpPmeQv+g41DJNUJhYSiUNZq1edVmA2YusSeAfDvxz8Afeczdvg/JZudvR3cbRRDeNcdcxRN/uEhoNB4ajSyX8+zSELJl3JSyeS/MKik61YM38DpFC6KyaYNiREqosM+FYYsvQEwk4wXp8advtTonk/G3MFgHQlf5zV5aIguiQF7mbStNDbKDtpue28Ov6UwglShtvq7wkE4eK53n1w3jnGwrSmmTepeglWCcgfRCTc4hBqb+GNGB3T8WIvFPVyFH7h1ryfquFvQkt2h7fO6MggVZs63X+sjjLpP1BIFeTxkQ+46gOQ4jDwAoFXgb1z46ZF6ZnI3zAU/AlUFMrNPjHeAHkiRiOacQ8OFUm3+ocC6OkGQC/CKEpBZUuKlZS/ByoVAIRgBVxEjVI+1CrkJ5Uz6apcMghOYNF2rUNeoyZ9jxKJ8SgFcoFQYZB/AhfRMF3ZUV+M/YxvvPWan+EfTQo6hjwVUjVofZB+GbbkX1A6/Hms9fAU2GQzPFCxWRTEnODPeaqNrHHXWXZVKrVBf4pkbLMXxTGbN5R37uUoGw5F5ScK+D6WKLOd6m33cXs9WtT8i0q+b1QQCPn41pSpFKmSl3yRqmUKBwWyeyf7n0Tnhy44TJf3vKhDLtGrcUPChD9PCCZ1DwAvVEW2ohYfy1oFuubWQaN23sA8Ke10J+mJpEo75nMyERg7RojydH9KYbnVthPW3eYt4698K1ZnjpchBUdnp7bWyGai6+vIfTcIvAmmz5OXaAobSDdtRZcOGBXxqDu9bOI7p+E6DAY8QUV2NnIg+7AvtSBoABPQ1ovHfxm/EYRSgNryN8ZF2+XvJmySUYXSUW2utt/uO4XwLfWpIujV7fPPpWv9++hXLr4Pe58ZAKU6+Aa4qH4wLmZtsmySTZlN2Y6QM2osWudcdCDW26dDyxXtFVMF4bXzG4uqNV7BAs+sKMXzsjVmRFwiGXENQHm8sKpT3f9YR8AvxFtl2WYSK9tYQuErigGztSpvH2HiHZfOVB5u/iqb5mBrEojyaaxxhK1KmGGYPdNxZSAN08oiFllNMqUwjw+BZxWB385zHsNRR+aarCuFc4l//sE8ROdne3k/Y8Jj1+Cw+PiepaTkEUsl2jn0KEykwOUDulpcrdKLUSKfOB1Hn0zfSh57RJX7h/CEeOxOhrU7e5ZOZkrx3G3sja9ssqIQ5Im1WZHTjqiUXbL9+rJoImRfVEr7zXAP3CwJ0ekW9JgHcZYfZOLYPanBnjntfkAWv+Zpke4ZG0N93xItnUOgr8yuH3l8FXC7b3D8+TPsC0Ixs+ubsGbT8Md/nDHzulNbTq0zu/0dYA+kNMvadivuITl4sSgCc6BuwIv5S31m39uF6TP1Ury3AA1pIrz+8iEhGnJ8Lwi2zo+d1inCH95HNGVnhhQRWuDXO3Xt9NaAXO79oK8v3qxay04iwx0ZX5pz2EzKJqXP9n0DXKMQsXG/Wo2T/483EHdi/t/VQvn2yWbYzO+0pEZ1gRYn2TBdPd/5h32oIfXTJ77hIMyZJA4yr/S+HP5+0piGp549wz15sDVMVI60L/HvFIyQKpNowLXJXXovy+/O2KVQOrjoZ6Ky9gI8krT0f5rmizVjuNwqpfhfJExGtr2L0lgR2ZwRFpMSdlmlzeHFbDqQRlj5/sF9BGpMSDfloW3UyHxpO5vE5D/5lYDlCmvHq1Ngy293d66BS/4Twl4erI1Z6mYAhzVmVgfXOIeVGOP96QIvjVtcmiP9grlz3Cr1t4H4ujzuHMSHEogmc63jSSjrccNCto/Og9oewqvBIhqgia0GsrZ3hWDamHjmAkrPTWcXqFF6TvbEbx5vTfk1nS+WjC+GvX6xKUnNw1FMloaG0NI0665bJw2TI5cpPO5wNYlZj67mM+cFyinnbJG7Kr43NFmHuS2ubV5j23fK25xIfAKQCguV6OKvDidmfKor3D8GbsfQxAoadd1zOl0eZad/VXLAaF362OEVkLbwH8rkkbRK70m8jVJoRxz7KYYEPH9PLJO77xAkf0wQuTp63k29znGWtsmlHn9nnmWVVnjxvoHegnUFEo4acrjh/MyTFGl7BDhVfzT/kLc23wFnd6b0HrkNg3VENc3QiFzBTt71TY1gcHTPV0JsbO7P4uFdz5kn2qztJt1iKXkx5/TeZhYxyKzuukx/YLe6FlYGGX8Glfp5NrHPRlrLqq5NXb7iSTRcmtndnKq6TZOPLh1lhH7z1nSS7EYn67zEVHVTleyZU6bfj+r7XOAH0KtS96S5lJMcuFDA82NRphklK2FIxXfEoFAVeNT2T33KJATRWydygZVsW1e3SPhFe/npE2xR74EVNHrcixjIHQPFX3pfWuLBjSq0yHOyRFaz5KMfRP4vob3HxfwIR6OdJR0Pu+qXd7oOC4e+/NyLl0/7avqYt9QfXv/aLUIui6Y04Pi1fb+UvHn+UCXkidGyE35TxTHfxPZfRIr3hJmJ50BOZ4pGEs6tJC49g1IYoiknU5MrKkxW35RCiDA3aUOGl4SkvIZWSxS2KOwp63QDu34VSkwWGYLDhyECtITQ1bRoaOPbyJ47u8FJaElfUEgU+5zi6Jd2yGnCBQfnoOFwq2Wg/M8VBg59xh/7mXjsK0mPNtUFgjA1yzEwf7wk93OlGzYh9xaaANsiKmnW6rB4RZKCNddqRDflilqZjlpS6Oy58soTHnDN7HWXBgE5f/bXF1KNzGBKSsIoRuWSoxqFSv/MKijwVWu+dC6nEVa9b0Yd7dTGTPrZ2vBtEJGttkvkS62RIfDwck2jMYgWJdINJmVlXYOMWx/5TFtF7wsH2+HvHTLBUP8xvMgG5ACp9JUIHSn8kt1bPmHtTWtBe+UZGI7Kxh24siwFXDvfJAt0qs6N8sMoZtLhlwJhpnm0e/YXgjQ9P7NUZxTLhB/agncjoh5srzWSmQD73c4pzFd1P9RRZXH+AyPBy4KBSqfux6Ib0EJUUYWLq0W/GslCQwmbYmWgeZwDr2MHDUcRFFtXx7stQlmQMFBE5qNAd53b/Uf6eX38R2wfwvPJEQ3w1kF1GSpWq+pbSXm9BZy6Tq+qD24q7rDul2zP43Xv12EuVBl44YJbYJlzkPQkmcly0jr9UK4GAgeFykvrZt2P/BeBfV+JZmM3Zqgyy1YykXRortqp1asges6IXLScOJhX0708DNgoBeDxhd2EYcsBp1YfZVMRwaDa0ZrUg+HdijkUyNYeC/d3RnbgG2M72/6NNaestJKlQKPjgqUtswOHDPKKD84zdy/zhKfPQFmDCxQCc0aRJFLJJ7fsn/W70ZWo4lPwU0WedGE2KOfjWdl5x1F02LLuWlAki1hl2AmmqYxtkRF1D6v3bKXXtSQGzpU6n30t8i/Xlc8dx8HeBIKoxXJxB7E/5Yge39C+J1tjn9tZQxHQgmP58EsKwSlnR1enXgBTWKjcdQ5D1PUVFWQ/BF53kz5IvVBI7EQ0xeK2AZ5pk7cqedhtcK12eoKhRdATGI276/ZT5EtjmfcI+YgjhwYMorwPvw9EUgAr5Hi9YiZACzkUEnHIu55Z/3KxVr2/xkWEOUKwNM233KC2DwH8WXacscggOi7h4Co0Tbvi0tA1X2+GkSVHlH/YgyH6XGcLktYT9WXUetK/NmmcSDdvGuplorjSpCU1dK8RjfSGN1RvmLguHxe79OIAvu/u6remF4+08R03DN7lrH70ktTpUp/fYx/KYoGPe26sKuwsPK8tI9CAcO5HdPATcn4NjD8IEOgzsuqrWYEtGGEB2p4nk92by9Qwnr9C2kuHFBx8bjqb2gt8cwOqeePnQFkDY63oaNYWTc8Ho2XB99anw+NRFtzwpLcmbWrDkuDPh0k4YUSqx6BWbCfsO8fSi8bnWHsxSXpODJR4Sxz49306n/7WS02/qHLYy7wDxJffVengaMzReKrcDDnKFznZGfGfpuuhHl0E3Y5hfwSjVSnK3+M3PVmwXOVhqW8ggn/HXaJPIhHyE+BQgMS92j1o5SkgPDQ9tlGAdoMWy1a70QhZDnTBRFU5lHD+GtcS3R4o/rlWlYW1zLBfTAwv8Xk5i1bugL/MQrov9PkL8nxFwl5BbBOiFRIo7N8uBIyYry3RzCUXfBMn4IvmvgjAdVJc+r7vaFMKuZBlzKoE7VdLtBZUWpt07e2mlaF/uk3U0yuqGcCye+tG/gu/S3678RoxJRVLx8f/lX1G68EWLI7a4H2Bf2bcNzuDoiAzM8O4QBfBifwSt4eDC62tqHKPDsPYHTfi8GT5nnL2UALpHRb83LahyDSXRQVeGB0Z8Sm2WOm7uCS8rUZeg2K7mtzKUvkqwbtgNF+s7p6EB+xAuSAuL3+LOsUfOl3vq1gsdsvusrHDts2+DxgQn/KyRXwtoFlIABhA7iSCEKmDNaYqQOpIGPKerHjxUW4QkHxP+YhV7OKXgC0Fc8Juv/KeaBzxjt2V/6OklRCsfAVA7sH+5/4O0m4lnFnjokSTGqUveDMTZ3TCKpTlwb1YdA0TBfbPvlInlxiDHpvEF/CKEb790K6CtHKyql867Kjnk6LEE++/m81cE1o20aX2xz4JcjouZYQt7CwUsuN1xlz3Mg+LdnG1epZm9+r+wB2sLGH6Fd7cy1SOIotCSbZVVDhEWdKaw+JONFvolLs2mkfDWycxWfYc5WnNQV89x6YgMG+9krhuEWUgKEraYO7w3/QUiigDOeSb6YH2sihxvYwmaiLQiHYr1sxi+ygJhXFL0LkvxW4Mi/H/Dt2NCpXRcdFM3cqnE0UbcItZOchNJnN7F2/RaC2KDV7bJrVi/Y0Y+R9AWCxDte18CeCl47lsqPqz4nDSajrv5QyeuLnja9ipXwbLeXbJ7cHEpopc9VgIMmJIVejlFl93neQPudfZv2Gg9yK20P41rB0n/mxCiQqmPMxyPTzPXqqWGMPeI3sf1OyMc5hNan0boRRgGH9Q43gVxLu/YswTgACsNhtXnCGIkK/8lzfp7+hjCNQy6rOyIkBlo9elG8Tl4h9lBE3ItSfmNqdtARx1bIT28ghSzswwWr9K1lQ1BVrpmgPaA5zvudNhRnTbAXEaY8kVFpglDtwxZvLv7mq9LVHKM2q5YscagiY3Z26DBa/k/yfLKlSMYRr1UI65qq8U12txkfqOCOnPXz2nCSRnVTWAHEpAjxyJYqsHR1UEshWuuaasvf0hfdsnAVMQc8/psn4eGOSG2WEO5qbEmERV08uZSM1lJKaE3BVwLTxXp2urJ2oGGTHCU3I6zX7yv13/d3ZD2XgHHaTid61xL6PA/n1polRO0Rwrj0wd0Td674yYW0OWtdScbhGRJeZD92kNlhl2q9klUbyzNfFUG6iv+ldS3rPgdGA7Z13w3gzyo2EEMtctkIbSxQBfKBlONJv6I198BWc6+Al04XohpPJzIx+NwMW2JlKv83JzIctdB21b9AZembGD/NTaSdCn50kb3ZwTCP19yqDpcuncBS7TMgtDlg2pX4s/vLMLzEDGGnBPp/bHbx2JIF1rhDz+fh6TAV727bhH/E1lNoVh70hM7T3NELdEG+dvaexXE6qWaFnDF1wgaP149DJsuxJ32v4PfsY0/Ca6S2AWfSBtdMCrAo2JmRXEChG2BruSWhLoxVjS6puvz9xl6tpUgaezOjFRySCluFQH3xad9D1PDx9Am0O1j/W+XsuNMZFaigND+TfdDSqfhSWAJ7Fn4HXP4PyPUT9fDtDSenWgWC5mNLfvfontqF2HPp1oE29tg226fOM4NU0sS2CO8xHMg46lxfHHo08FJaJwmXn4YG2SLIxd+a4dn9lA/Krg5TWkJQ0tNkoyUwEQMb+Emj9jsJsrYMoy8k4RA2KvAQBv/WB3OsgsJ4hAW1GVzmtsc2Cf/TKhAax51CJgpV2J5pw0X6rBIM1wi5yQFYEDFSW9bXDOBDBe4eBdCwWCq0R/D9+CchnD/UvlL8EaKl2taDdOnPlxcQ9FTijX9ar7VdSWHO3O4kY826g6keSR6+oP1FNqBIWKPjWJAJzfb6zlx2K5GK3mVFSrmQ61LKlwWeIMLojekRMEnAWRRgKii55aMJcjNCv+XBokuxFVYg0Rc83pdHjQ9P4kSxlwZO3JPYMtFC4p0F349m7DP0FX2z1o8Jm0Qwwv21VY3b4pqL0GFfoa79Q68OJl1bDBVEATVw6SDFbB0ocmQq4fYIqDtcK7GTXE5A7JiFbtc0qtjf5AV/Yu72TgmfkDZk99eee3gp4JGpqeE941QITSw2yrcUcWgxAid0eQNFyH3268HIO50o9KwSnIdmaGgvalU5kaOd2KF5zwRqt10SZzDlmsqy4Ch8lY+gm/HL+84Ikp1VKq4at3F21AtbU9sPcZTuAsmNDsZyECxut25yjHttLV4/X5Xo98uKoxlmQ+K1gNh5fWmTBF2F9a2N6pr0TwV5m6SA9QnDWvBY2vRgqDcyur0YjatA26PcOFa1LdBywRfpPu8s9WQkMAdzXaCIlu7Uj52UASVoacIks+rBlO2pSm8Xkd9s48M00NFMKSNOYDbAEJCt5dn5EpEi413ANJZOuKJMiZxmox+FrRTWrJLSA/O+4/bqel9iKt031sNqmpN2cXX5H/Yy6htU7JpkGxfCfz/f9axoPYVLVkwIvqPGtIuW0mCzjMN/3FH4BocJRBWlpv9iWFzsYWfcZnxuFQgqynon2+wAGZUsGMmn/qc6ucAAB6WY21lp1ri9bTFaA9LngUwrJXz7NkYYbSntP/d6m0EICfAItsOzoBjkmiybxp4u2mW8JX+BEf+wkVFC2G3b8KJbidxMCQ4mRru27NnMkOgV/bqyXFuZfGM45AU2MbL3eYeVd2IFIPaLSr6u1aFv9q6jmb0LlErbZewLzRo+B4wCbpRrLA/Ifw6SFzlSgRNlmrNzIekGE0yAFs2Q/M5xg0eSontzdzihzwe0M/EKkRrLOn+velnKFsQM7dAKahjKjD8uiR1PmF+tO//cqvQ9ilk+I0RjY/QtPhnRJdw1Zi6wfHsQy7haPyLGnIqbOyaPzW7AIdOnsF7yvMsHVmYgA827Lg0c/e9pU6aCWUoVGFD5+i1yP3pNO/m5EgeGWLoxujaqe1yX0luWJWsEQ9n1hsYihheKSe3t6aJL8iiIOkieVg/FI9YPqB8mMtP+oRlLWOUkcUhEwh47b+MpSzqD4et0pId6xE+B7+Yua5qtJkb4QFlLsyuvokL0MVE8K9U0l1KQzBqT/KtH4mB24Zr8c/pmAfIqsvqp4cAw+7ZsUxTvSMTJZAxBB5Jmp+CnXsVhG0U/7Q2Cf/6mVE1S/iTH7I2AHeTtpKA47pGIneTqUYVspMHWaC87p/M/o1dy8iN02AfwlJn6QaP8w0AVh5Dd3rJFHtVSmvdNO9gR03Xv19GGzfJF+1mdB6TvAuAnWzLIl6fR7wEa/iZ4n+gtUF5YnNnsLWLBRZqF1EUcCCdGmyvUl3eRw01CnIucY69nDY++xfeF/ksq5u5C0WoVL7kwVv0cZs1yDj3JuEP5soFi2BfxH4YqTA/IqmcHmnxMdDbY2Kh/GkOUN1E/Wh2fLGK2KoIWSgQnMO8RYHkSQnRkkLNLtU7A/LS6oIL181iJ4lpDZaleZyeO6pVRMbj0L67F/gwQY/K0+YDAk2d5XOrz5x/S8f37wwbAACC3Fz4eDrnvtyN+uudfvGUPeAn5r8cH9f8nYSB9JAWCSXp9Ru9Mm0exwl+lW4FNdzpjNUgk2qCsWY7u4F0eCOUQQ1C5oExxWG0Dp0WBH/lAlUek9C/zaGvPOR47tgi4o9DdMHo5VH8aJ/wq/L9+FmG9gch2t+Y5WVfLrwdSwSAqHl4NxAIXbM3ZT2WBxxRgW45MOr5l/Vy0XL2oN1tBEWi7AprXh/UNFfXVimcqJw3HacTSn9F85AxQzM4jAjZcTgOwzsaDesLue7Dzd1I4aNpodv0gZIveLaJTsJb7Fk7225y0LCXLylAGiXep8DgHtFdWjGnkjZTcwJHGjQFr6bkgG3lt5vLBYTfOcQp/LtEEBEedxboV+Vbr5CZlHNkdvH+cWweXwcpIGbM4+P4gJ2yueJCPnA201axwaGOoEf5gxmRvpSMwZNXHHAirlSAneNakUqU7fVv+/Ff7o4t31KR8VAsql7MgbwTYf4nYNYc1ax+fzwEy/4fshsYiG1XezgFeKhflDOLUy4WdTw/mcqTR3vmXwVuIxT0Je3E72hpRWXZVehsi03ENxOOXEyIu4ArqUE40Rx8eWIzDEyCk3A+XRqmQA6JVBRF0nYsKvjlYgYttiTzVWv3bF0UlA1QI+bnIN3275cZM1SZhz2k3RTnpHx7sShjEmBjBarcX01YTenZZdkO0TMzETbBFYlSiuNUBRvHv0Gez9maOLUcdAgLrIPY0TpGjpMemBnYB/0a7sHnikJMplUo+prnSvKCaU3QLn3syVVjk00sHpbyOdT+86jYpS82xiyAPjkHLy37JrWw0t324OzoBS5xNeIvx603HUHL2ft4E8WtUtAkS6Y/kX5ijXKhrpmv2lLJdvFbjUSz0+Ye6FlmGaNJ5N3ANS5ksI5K7kJme+OSI7xpXBEZ5c/8QA/w2+fdfNFj43e/r/IadXCa+5sNaCywVvyOaD75UNJmOttv2VirZbOFoKX1bcSty0+vo6hP1fpeXJe/7ighXqEA5gf3klIOyC0+d2EO6HYhlGmBjtfwuf1zSYt9qhWlIUiJPcEh3RkJ/sVfHLLDCMWlOvwPSeMEG0raYIcSPQgoQ5r8kiCb0nHZG0htO4/Zs/iADVonwnth9NFSrhNYea5VL/64quTITPngCUEB6E/wgfTSK0SyvXGzXpddZgxKXMqMG34Nw0Ugp2Wj8sSLF0tcv7ieFz9rKwzdZEUkSmkV73RKThbw8zqnNCd1I857TT20Fj54K8WP1R0lVn06tLao3zipNUFjXBB8DpXzKgpmBfvY9Hk0iCldTPm2T+ZhG3TWQb303iYI1Y8kX0Sd3e6iYLGaVuLmwRcmkmNFMjDwqT1rl8QksXvns1tqai0LYfq1YZr6VxTR2gD0m5/GrkbG6y3orwYhde2kCmIahNn4blMNv3cdnJqZlwAAvWAsMMimBGy+pe6bxCLNf9Ysp+qHEcQ6CLO3Yf35/Ou3EKrqOWvg8SlL7nTQ4GROFZGgkR/63XhghZIOo7wCngUk/5Ykf2JI3Q5qSKtC+lwcYGvg1IGlOajlSx3BZuA6r14Cro/WeJcNaRSAT4ugyzcrHwdwKDjb5+6UK+bvGYTUi0Gmzz9PJMjbkRPgr2tZ7xlO+TSC5EIcmy1MlKzOHZBjEJyM2t+FcfZZSVaJVmBzjtWTAo7YYymvibUULQ4+9qw6BL7v+o8KEv++Da3+VTE72xYWUV+g5c8IsjeIn220CNHh4m1rGr5W18/bNuiBUsKhgjjnys3SCR5+Z9UOxu4CpYPsXE8Z39mjBEKwPAA4xWOwc9HS84+pdiBjI9Hwg8knJcLPal2IgBrZJL2MK5yAnxh1uEuCVC+/ffNJwF3rflTnnnXHrbGAgNhLPSr9KwWfW73Z4EauIQ5C5+f+sM8CBWP+5BDJt5RtIqDOZKRbDl1hR+qOFZEv1xpbIV90UcHKAohok9kwAo+vY+yTxaSS13m0+409ux1lmGuKSVGc88hPwQEikT1pBNoJD1DxeidVuFbW7I8if1eCJTFj1GZtZV8ct5DTMYzAmhBt9rqrSc6y1K2h1xs2kxeifzaRIFiCjnrxYk/4ppH2VjsAjQxK3m1n+hrkpIItB5ZYknRPgS+P4p4fCn0KSYYE1PHVR44ldHbM0gICmT8zK3f8pI2c3ZvxJ8QZM2rgFAvz4unBQ/GKkZX03VkQfeOeG/7J6lCPZ8TmNUy/BfLwveF5naSwEExP2RmfjmG8kNqhElOGj4CylQRqVj0GqMbAGxffCTFHZ77hY6XeEKvNylL6sV9dK4NAkJCzoft0Q6IKGKyebt+2JOXIXunDxY3f09WU6jaO5/RoEzpS2G8o5y2E5di9wH4q6ypg3V5SGFBwxEgN5V/EBWNZJ9WZveCUshVNrMK2OYYCD8K0kbsTv7l+3vOPuZF3phcK/BS1WGo+dOd6u3uKx4Nsfxyeu8IToFC89w645s4pzILlvT3pnX/z3EvKizidrb9rXM0A2S8nJGrj8JZgYUdcFa/Of5G3V2fQiSxecCnafSyZBzENjROPsGIDTboh5joKu7UXXHsgCfYrDQISOuKxNgulo0i7prQAyr8vU7pjLrt2rX9ifV0LX6B5TXzqLQScYcNIfeAw8oDW0XBdn8NYKpr738E01fLSreL2ChBdoSBZCIpkmP5/It60VFjNwsA9U2UzSavTdOg7KpFnQGsOssxiCN0xeA0RmYehWfHVQ7/snjvSS1iHwIHtSfehRYGfxkUAJAUwRfHHp0l2DZgLXgZXwDGk3/MAm7CRAe91uhSyDLzXR5bKPRl8OQ0ZY1/EDW/W+KypjXUTYF2m/o1g429d7yBs8GEBogHi6Wsvx7pYlt2T0RvPMPpU0exRU7wzPnYav5Ue4bWzRRCFbs7xQ5cVMQKLSKMzKMe7rWPeEF3Z6/0bYP7Dlh/1BNYlpTJ//t0lYY1yvl04JCJdVqu7IzDIG0zFb9vct9dMsKuT8fXZw1Sc64q/V2lsnDIGnHD1zXOJoNmh5cORZa8hBc73THUp0VqPGMF38oK+Tx2nvA/zKeHuQP0THOF0K6JyGIPDmF9Xt6L5wrAJXXEyQJ20AtXZeT8Cb6eBcINSGid8DbEfEcZjR5G59RpZJCXVN5eqIVgh46xnewzgm8se1/+GPexGGwXzaCneIEgK/brX6Cm3926g5C9TUM6pFWpRzofHjQwZaqb11kwgi4U//iUmFCUtjsNseX1GXeS3qLLzjfflhVyhlQ+IuxvAwZBRanyK2OAc/3zyZ0fPFASDa7lVeeg9UsdORbzA/ASeCGUmkxGVkdriIdQgQg8CEe43R4bu2OrDz3Bj/MWCUWY2EgJ7N/pIArdGpX116LrAbff4nEIjwaPy5thKTzdxYTZN8FjDP2eVjtUOA1KEolbrh8G2WD/ERI+CZAq29zIFt3sowd6u4EH0urxyIIvi34suoBXC9mBL+WSOepW1JBjCTOI1nrvKgHbWk0cQSPEKOK4V+Uu4p41whsq6To/K95jjIB6RhTy0Z10gKl3io2UWA5+LNmcHkbR0YNBXG3qPP68occB5WHEOgjM9+64iTFz7F4Ro2LpsjCA6TumLBRGncuh/p9MWYgdunEh/YcVKBBmzeb1XtydczmkXZvSr+jR561ijLBi3jGp+Ke5GUVEbm64iYdQ/dStTGW2bjBPDgwqHlnTZUFTwaYSCTOzVrCHm4QmxsdcGxw+8bU3IfeoIoBMSHKSyMSub4GkZjC8PgjWNbemOfBJvEJIvFDJRFVpuM+oCW2pK+quiAK2CxU6HoHG8cqQO56Mv6+PJXHtKBu6coitFP4hikhORON+6TcqnNWVQHZkX0TjMF/+UEL4ZIPQkGE67km1CdoYLziU0jP+gY/qSCd8c5vZpHEsj0b5yrRepQC5QzPVzi4QzxqFAkF1GnDM3CS4YIei1Skdzozz1XCbP3YH2FYqW6GJDIuaNHS6QeLAeKKEFjj0+kTn1EAvkJcvpVgTntw21Bc7luKoKDFhQ+oxWrVVSRcyQhce8LlY29ffJhglAIKRiTgoivaKwQc0swMvs05UJ111RNXh5vOPyv1yo5OEZ7Au0md7TQGqgFx+wkeT7q5gXd95bWLyYOaUAYrU3HnPOq+diqc5fZBbcA29QYbLguZYVHqHtY7jhrOCETsQBod1+jtt3qdjxsQtN5PMaYMsCNXeK9ldhOANoxQqTVZ/WIToZKojF/iaIoT/5pnRNlYZOvnlWMEarJXF4Px1IW6/JxzCXfZqkh69K68+AeHV1yIrVIGJFL972a/AKokeyrKuYR9A5nRhdyhO8Irv/I04yXlaxkDPJ0EIFmBPt37wgMM0x3N+TmzNaF4lsFZs5QA8lABLPAMSDyYm4ZtWkuEZnqQI6cIlON3BDztSSIKiED8Viq68Ekh4J014AixtKqm2bZ7nAiBAITIuOwdNyLF/I75NRYHZ01e9pNn0Qc3T2YlVMnQi879HdlcjxeH+Ug3Zn+oOPp4B4DIa+O+ztuUtd14+fbuEKzWlvC7xSY5TJQcQkzfX1xVwbEl6CnWn8fZLsIxvTCMiXBjsmtQM6eoWdUrZlgtANKEOBGmHg5w27g1muK1au6X3jpPMHwn3GFHNSF0jeH9FVzk7zBNg2DMZFOzttXa9pMhttzMv2tbNHmlVz4TuTOklsFvoONkwvHr0y3EvQgSbcvpVvHpsDPFtY9HVxTnouirzJO1EoKD3BqRcaQ9Ze5ujPqoW6DBuLIhBqNENWzUVsKQR9GpI9/osGDJZrEy4gCwzdtnPKsLeZHQACEdVfBQThvvlbt6BnmrQuv71vRLsflf0E6JeVlaFVHw9qIKXTaPYJ+iByZIv1ecx8YE+lsICUa3koAIDBr44aElXlh6pEgYyGsobQ+W2eH7Oo1T/ZNfc51Vu0eAFh2y3tjXl+nuGeJ0IBSu92c/4Zbw1+TLpsDx9yBU1zCH8jl+QmMcnuWQXRQyasW10GGy65itDfOd4YNorJZT1TvabGouiGFrPOYetLZqKgPXeGH9fHpe13RMo33/gaoa88fq8M+JwL14EJT/Cih1CA6o1r9SdHr0f2qlyj7OjK3sMfZBweoAc3GUSsZOzieDYbB4JYcm06g2F3HpyJ10jv2Jd0WcYS5JwTlQZQhEyAOFj7uMZrkRSOoXfLBBf/w1G5+JkZN2PtEKtP+HPnam1dFiDjItHoTL+osls9DxdNvtfM7wEwHW7s93H4WjCd2/1a5WQamFi5QJh6t1jnER0Q3dCQDOAOiQXYiBa5GBDUYwrpBm+yxu/QrcLLBqDgLCu8lQpHmpE2pO+hytgu1JibJDhRwXEYOdV+/7ISPZCWmluma/XMk+av6L804eygbyFMZq3WF2wT5DTntzK5EqFugswwcDHQybZiYDlt1EO0BmXbxVhbD+M1u9Q7nbobEdKITffHi7O37shwNTuZvlbT9xjdYXWLlZ3KJT1frU+vsgSbZfmifGwxn+pj2qRcFh9dbfLKK1NL0tZuvLx+HWNF6iMu9karM4eigoe63ABwKvAuIy2XalX5s0/4cRXOuohKMtZVYeV0wPUsN/TZB8u20uXh7BkF3l9Gtqbss+RtvQu2TqD2H4IeLWdwQhSL8Y3gtKoOVM/+Pvttz9TqGoTG2Qn8dAcPIR3Kwqd1D7bR4Srt1a9PtmhZT4d55gw54TKQ4aTPtaW+NWPTKMJLcybReR2TRmxwRXR23Qo/CfRfJNDZyt8bniDqrhUz4yHVim0d/qKI+8D9witbG9VcPTmI7abZ7nwHdMKsDYLx9qHpxZgwpql3U9cRTwsRXgyHXP0v/yEQ7t9JY7LxxBeaWnca2eF+KrCkeOXDHU5FcnP/BpP0MRQaTHPJhsCmnGCOcy724V1t+yXsTaIHnaKm42X67FZ8vM8vIPLrdVcxWIMpVSgLu6Pwc+cIYnkuO857C4ERUOivMa+VsC9L4/4kzIabYF5qwjzLZ16jU01824+68b5Iu//wQOAju9Kj2jusSMQzP9kkxjuvaeXEjJ9TgX+rC2k5uo3NGwYB1fxAUoF4Os60H5rBlKcgu5a4VzdOKgrsOy/cm+dpakIweE19zMwrLDDZdWWxO7fDXxb4CTwG70NPlPGCkqbIw/OrltdSG+XMVUPqw0I0viCAH9lJCoZkFcrmmA7oQJ6x/QiMFg1Hpxfammq2QHF+uEhRk5JCNpVvYmZUKTKJgxAxsnkk23yEHN0O+/+jfleL409kDjSyfFufC6FPYJdHe0nwtN21DRcLNxkHH16cmi7M7c3uz+6Mu90T/VKbFFlbqGxKQHU7k3cKlQRaaCAYYiP+QVWyuF/LMH4+f2jnbxEzyNQSe+RRWPTj9y+OVjKPwF/QThTWSiJkrMasM5PKp6wjQEniyOpkTlXuXzea2csaU9C7fV0uch0io9vo3uy9y+kRAkiZKQoA9Yo3tXWQk8YxWKwqSaqtr7FAomwuLgmQzullNFhkKNRPU5xcN7Kq7CqkDFxdYb5JxFTkRQbhcrYiX11BpDx6NMkeIyPgLfzEhsNq15vYNsYpJS52YsEvDbju36myz9NlEIwYlZQoV3ct882L9JvtToYzsv2UcBhLA0Qv6HJNC6l+C6zGcIUgDUbFVoaT1cW0YQba331+TGNfMo8Mt+l0T2EmuKf9+VSLCamjoUjwUP7WkithVb23XHsAVippXJGnSJeRoJ8XdspT6NhjW9v2YhQ91KVlnNwAxyK0sO1G+Pv1qGlDCQBUvCxH3Or1n1LjxR5T/KHzyBDwzWn6NFPzwgmAcUKd6nYYbqjduzVIS2ZU6Te7d6RWt1NnPK5trP/g7/bEivWKDupOzyX/try3RSupDA/+pZQ35LRZAScA68pvP6B4pTkbhQC8wahvuU6/3nRnjcehbtTIt+KrBg8gC8VpaDXJ20eB7/x8LXksuTEQAHdr1jWvv6/dEFq6JdOU0dZNO3vhfrxnKEIgrwQhsBYNd5AjBcAPpbXnEwAEqjX6VHJ9cTpGwoHUylh5bcDSYJTHF3RnpbZDkTKm0oPPbShM3beQJAvdMdUrws1SL8/tP+CJ49H8nHy+6iCc/ikMM8RmcXKco+aGodjscruR200f/BY0SRJSn84AZdwa1mTNIiJV0QjubnFxIDKGSpufPlwzRVye4LvHe4J2f4MwfAamNRImYh5VXXdLW3anGRAuHCoJD5ry2AMlBrUlOTbcGTGK+iGBnJcGB8M+zTerowgnry9L1WkmmLhBGDFC9f0QlXRpa7rUVAUH92lwo6dakhLB99QhB95JtWcpRVwv3wNniOGf0ePaVz93AfwsvNIZ5mqU3NlAMPXV7sxb3517Kjsx79tjaNSRh4QBUZ2wz773zL3MOSTDGbnBlOx1r5jIe9Bv6HoG/0w7+GjHqGe9Ey2fWpDjBliKiv6I7nXJP1Oaz08TuNXXhI5HfbaNzc8OLXRi1wpWi038pbqrqlIgGNsu7cL4/kOiomG49EheSNIjPksnbWxFFolu5GHmIxfqH7bGItQsI/+oObxxQz2+5VGHv3WtTaE9whD6Xfa71qVK5D5/wPje/nK6QYw6jzYb6uYo093zFj8BRvSWwAg4oG2sXUHFXedTGQN8f9DSoB9/6A2bB/GKz9K8Abc5uqaQlB5mY2zbDc3YBqGvopUgjVqCYJo802jmSwatrlVv7gBb+vmUfzN1AcXL+T8y/J8Yx9zBBU8iuLKfY8m/rDGXiDTQU2DXBNswOCHAvuaetSWGU46jv8jE8P6uAZC31W+L/kdfg2tBsi/LJU5il0/6dbS9PrQhSSUgilhTpnN9mJlr2ssIsxV19nzI6sSJik39yr86IZHchoU8x0lb+FN3c0uep+1vuQR6T12En0OwSVXhCTDHneGkJ/xpORzyRkuScLgXBB4x5TVHps0NHLIt24tJO/w+UUVlftk5kVbeOwnFK5ja6QSFy8Q53vJJQAiYDj1BdibWakdOkIO2U/QdwTJrF+PvpV7zIooO93UlZ6PYPqcG0mD8QBCPUvoKri56q8W/Ec5MzZo9hsMdDDTFP6SGr3AuIE9TDTX3LvBFwiR4WWAcNdGyVH0HVi1JqHgba6q2lfGNbpyVE76KFflWTyjTb424OSw106FJYNokam5c8GtMc1cQnge1vQZ5MwY9Oz4OPDD6lsfvudAKE5PmYlGioqRLwCToueHlZxLhkWc+4c4wjk5Q8Z+z5yU4uFBZEjvc7hjnkU1ugtoMAoj8JgKkh6Zutc+1fzJ2LqSrmHcXcKvtH9CZz3C8t1KkdLOoc9q66x1OjgTAiAZ+HrhRNiFF6CYAqXfbKXY3ipRGGyFmT6N0qucMkELwnvufhJtgyXCL4NQ51wEeDxgQtJtciFgEFMbTrXp0rsoMDtd12FFF7x2JYhm/5c0bxksqL3pfPO/zQzdM09FDo0M9qQaSDc63TanR3gBcbHmIzu3UP+kiKPkizaunp5TOmvHdm94RqBHRMms4IJG2TxTSoPtfT0Ub3+mkYB93aGt+7UScJQq0OoZbyADtjU/lmQotudNRP2/sl01WQho0Fmc3m+ulf79q7LGzGxvg3ZuKYGU9VUnDZBSvnyb4PICmj4UNsaM79Fjd9ZdxqR+mOjFhvXrpJ0ofQ7b01iOoQiMKEKJZvakYphrbkuxA92QNGINZyF+pqtnV7KCa7oLhGwG/clodW5a6n+znzbp8kbEYIhnAx6H5/XPIpKBwud6FCK/JYghoq83hWeM1KqiOaHIVuJyTl969HLeY2AGvuL/8MaOQUiCHwRv9ZVn5o3TYrGmtdOpEyPFsd2Cg77yKSc5llr4+Usyhqo7oU9w2wcHxVQcV98FyMQBlvBSll5Y/mWHeUsU1cPMuo6NlXSsON1uomUwf4xO6SyZ9eCs5T6arQLIS6YGd65JeAqx66Vlr5ZeyLDpOVvpcb5bwpbhg243ylM38i+yoy0bMRRXGyrp/nN5Dq7YB6bBkLeK2H6NaaPNz4osplBtF6HmgRBvbXxaU64qa7k+9aPtDFCbIe+mwgxMn4LN4rZv8ZcGGPnDHK4zBBjKIEKyeUkJ+RjXEXqss4kU2b/Y0fGGvQj3T31qf31GbJLMiscnKJ7haHoNB/RJ8JSwGHmS9LLhA3t6Mc9YJklzIBfkWidKOaVVS9+oSySHlO5Bn1ZVUv01VYw+bmh/Sl/oHprtOvWROJjlOVK9FvhB4bLOPol6+Tf+07xeCCwJ3QhJrINgqOT7ZPf1oigEwzLswxMK0ben/9JCR3anxoPHMiNM+8pKHHpR43AxeTW6QNFUQe5p+Cpi0dvgpxp2HN2///TqkZZfp9jTh1v39IUsDxaWTzvCtzv8uUMODT2Ypz4Tc74AC2OWTvh1ejVK6JRY/b+a5ZyXy1dpXGyYsdhJkUqpWg+fSSQbcaW23RzRkNnXZaVkrp8oU5J+j1myHfzcZ+p72rlOG6xDTvP4lSl8LcqlxeIfxs9DDTVNkjFymQAYECJ9flowzPzMmfoq+VPBiWpkuGgQbhu7IXp2VmPIxc5OxqmuBBedcp0kkj0TnA29eSTrwREUOA4p64TZRx9QNnnF6Hzsd6FnBbc0HRu+v1qJmGmJgR1IuTUVgnwaZOSBlF7ATayWku6SHhNsBDZdgK7q0VcVvNYXh9un3lLCKzsKizwWKiqoK/IJyz66T9tQCyA2RJ2df858eYZZ89eC69yp8rXfnYWWH4tsITsP3HxppnRdg7kLixilLqfBoesZU+HntaqMdAL3k+MYlCM2G+s+RVFo8BjV6SQ1CYVIZYmgkPxpCQNHsNcEo+mmhzwOpCH4lv2sTSoqRtmEUjP2th8orfIIN5ufizH6ffrjRy5RE9z6AZk5yvYV3neMq2+kPQRtF7Gq/8x8uD7OlxN0o4QeSpOKGruBX+ND8mHEpUImaCuUMGwF6xdGN23zTCcGu+E6TNsoGl+ukH8+7aC7qToDjuswdPWSTbCcmfP1VTdQWf3zCv9EeYreBeAMUf1puhTwSZkIHdzO+uQwEeRRR17ZZJqcEjyavsYtftt8SbKWHnlNWMeclmteHqBuPgKhqBQi6U9k0ZkQqvWy+eyrHyqWiqVSpar6H+ZVBoen3/F/h0EiqfQ1MXomJwkDaqzkWuvNSb7fgTRQoN4SZKHKNZie5FNqGwMtCgZhrws5RsBxSPpi7sUaifjRR2aV06Y92lBW05KxuznwqVymbnzpZ+0k+INuLYuhvRUwDRS+NWaIyP6bijmyFj+wiKoPnhi66rTZkUIA9VBwb6YCgWvtmenuZcld/7uBamn8YiRgttbadp8YfAd52SmicuIVtSR3WN7Kp2Q0txiJWkTBAr7EJR8bBcG3FbZbofXBS+5lmnNnjRGsuIYTCNmTVv5UXFqQ//GP7vJg4e4uS5/9bGTL9kGtbBePYmWkQWxyxtTwhk1HLo4pEUGyAcxmfAnsWCziwmTT64uu2DTnSsY1dl8JuswlNQhbzyvCBiUwP2PGqufq4CKLaZG2hSFDZnhWOUdaYJxfejkdXqNbaLxBIJKYgD1B8S4GTsTrcfHzl9/VeesWjfyxoxTjTS9sD49TDoqKN2m+VSClLf3f+bQ08CtZ9QOM6f+gpkz6TEZk0Jr5KmbUHqTHTkBK83N93fd0YmWinGaE+/6MJftuqpZvHk8rKG6GstnAXZRsndBqs9JvbFeByuNH0cbXbaxBsGrQH8Xgf+LmbNmG/o//oe9jRGWr6VqPi+Db9E0m0+il0znG4+UgdFYMFMC0J0bH9cpIzruLshR2VJHtudq2QXTnya1tz+4WO95YutwjzDUrYSlOqo4Z5fMDpmY6CFWqEZIxpUmGZLrx97ckxJoz4cozzUvr93Oyunyht0XQNxLaAI64KmDcFKU93SOSI2vk+rfrcsigOgaGRrvM3pA97JIRRklLwBGW18L9fhcSgYxO6LvRIvqKkkcYQIX42wVwaaP6eh7a7XKkd2AC7khKk8k+YG0l0uyoDTofWpt1xtpIOspgfqWqldJ3E8fB5/f9BXR7v5Sikw0+W/CUK4PVE0/ElBFs0ga1hAU5i2mr+NRqJpSE4TeOUNZtQ5qIJ0n647+DfZubEDv3u0HeCwFV1XprjLqWKgTOH7l5ey3GmvqQpq7x6ZoBF9o9/fTkXrXYd+i9u/2WWCRw8b5MPixbC45fDBTdyM0ktrpmtaiTfynN578sI5i5QWqKMER8YfJU2JohwNeTI872+0cTn84uJYfm/X29EpK3c6odDk6uvBPAZKCev9lKqt+6wJb0bVf73uUZvPP8U7FbxZ5P5Temqp9Wsdde3/j0EzJCF4NbgggwufEBcqjx+o0gnGdLq6KYzP59JCRRblHnpxTQdncMn+ZA4yozGdoqeX8PyDbySQBpji+sdh0ozdhO2thXKZO4E2NQqWBj/ep2JAuk/DcqkTs28QjkbYwsR8SrLZXPLW4QOPC81eQbdsngXsJZn+GZ0obJCHLnoj1g0nPo8x7OFG/KWzkL0UyUjXDDPXLVMXlAhvS0h1slZdwB1htIGdBY8blSHpL/uSnr7J8sJTig5m/20YpeL0aPPCEZhkw8QXN3Wl+ilavpEwq8VBz67u+DWXOB57rSaSBYQ/lLylK2EuXP0NEo58w9sYPP9evti/MBk7SndztkGg/if0JQh3D6Dk7EcLp4i2RTiPV0n0slWgijU+wUCDZGcLkv9Rpt8zZ96ocXlSgGGwIAz+dXQOl7lZm1Q0J0SH1OIlqRg4EyLbBzXRnDA0+SwA1v1m94HABoSgrhDUWaSkw/tm3G2qB0OV1c8WCKV1mC72YuFEdmsLZsviomgbEAcfpAG9h6eaBTFJ2NEPr8IFNazL+V6znbSHqgYdnFkFtr/qNQ2VdNHyGMU4DIlxmvirsSu34MzrovmCyeThm8d4qmvhw1fl4IVdiM1iSbF59uhord2c/SuvNY+EM0PyBVub1YPUwIh2s+X63BPGXbZ6o1seNubsXNbuG+a55URSAzQwMb2Hyc7Z36lqtV61HTx1OO5CP8pPAOnLlx7yE1vY0HO3B3uegNP2DbGXCu2yVw0jc8Po4kB3CZttfPeM/kNMrdeVTQYiXZ/slPiTdj0Uz+y6ggy39sg8iYxZDlVkuT6/R9W/ryighbNpzdWoHqKY7qAuN89V1S+ru/5FSP1Q0P+mJufR3KIfuQBB3ZF19yuFu2Sm+YqitPl1BQi8IyRvqebah6d4s7PDjyOLsG89Cwi4BQYArLjNglnJ6jKP0JKa6HOLynbCNztJYlgI8i+n48O2WYT1ocWM/D2ZP7JTRNw0RiMSPjWXlOdn/ZWNilLkIc+6WeI6WIHXB2I3UILkZTMpqQDDitQfw16NGNXhWIO3C1FdqG8EISZSYfSdBBOflY/qrhyv/LQ8RSOhhPTxrX5L/odqnQQpdEXPiX/s/GiYhoxUOdDwOpbKam4RNpUaNyladMmsz3CBMjZ9aQ2Gu55uDm+SKfvDOX7yeeghcSBIwCvxohB7laqPrPbmHRUEaGwG2W1y4uDIU9xCyQav9zEYBSABpk/NNSRa2Gsi/rZRmWChD8rlEAYNRPlSO5xEvWK9yzByAwlrTdpA7bPf3R8JctZ70FtRdWnK/ArI6biY81RP/YuWJHQwLaftv0jXQY2lWbsJ6QbpIWIFhLJA9EwNItNcbUwo5L1KfTzgqy/5ew40pfOSW7n4Mt6nU/B6cbXYUXG+HyIBDbDVwsRL/0VjMvAsMqGczWORXgaR7GwA0jWS2ZUYZI9iSIJROMURHuoIhGoI9yX1wX36YLh5eiSQ17vKtlUZ1t4YcagzQ3k7crZsm8NMdlR32HTeaO7FlYLz1pVHIqwTMthND6NfMvyJWvMqCynQvv9+Pn5idEVk5l/AQhcj4g04oRW04hV/7gG166n+dK5AQfIr9QxChYnY2CimBNfTyejyExYADJkBPghLJipkR98kglZkno8Hi8Xh6ErbYF1TSjGib0cbSXzo00ZFwsmQ1QI7swDgexqnvi2LcZ8ZR9FFq/Pbqp91rmh+JbnLx4CbRCOZRVsvGQhdmpndmonfNI8xHN2flaJAgBC7S459354CVngktaojSyM3ZfZneK6jEi5IQoH2zZtaA3BX87vYwI21oqsV9n/F0Ns2ppNFNJ+A7Qu/HV5x2DFxXk0slKo8N9cZBmU7gDDL1iBLw+e23fPl1jZ5+t4dD7QNuLY7KDBU3NbwgUolqgkrv3G2tNqcl4IhCBSNxKcUF3v7rDVHywQOCTHEJwN4Pf1R6Sa7AFM1sQNlHsjDxSw2kj4/chDO04UC4Q04qQVyVz3UtWWgnU3ATYsf/rc1aWGjPZmELoKdo7XqsnFwl8gkfVCmGjYlchK0ZRa5uhK8liM6sxQNQV2GTQPEY5cr7fI/qSw2XBu+hkh8p84qRaSpebN9t9Z/OwmlJ135xE8zVE9pHPiyDlzZEBoTxU2XcfmnU358G164kxrASHyZa7h6OogqK7Rs8rM+qsJx7c4b311ajhwCX6f+Sbb9gS6DY837KArcCdIPBzvE4v7S3Op5KUu9O/S1ncNQO6hK3x6uc9Wl8qsZ5FgawOqlEy+js3fsVhcmVqLT1HZJr3cjWgpPL7GXulvnvEqKn+COidr/Yb0AYqrn6tyglqvnXyzWu0AgRIkeUgn7I1yOZuW+roOXaQkKyOfD7P9vWcwsblccTSMUNAi+onL18QLtulMtWaUHRbS8g0vwW4PDwxHFCgdTPYxzEXvU3RrEySqOfpmnxIoFN7B4kww6OXBTiS+SbrfINA6MOt7aN7Q7azf15wgQGZpXIpu4fcOIq17z1ji7OzR/JfnKvrnX7t/7FBvrsFBYON6BuonehQpePzW6pkYOox1PnHuNwVuP3QS+2wSZS/JaVdwIoi0KamYw701nywqY75GaLYBpFjYkudfYzPTTEm9tQj82867Mdm0qOOSmzyAbuURiUjq1AKo8IDxUncRU04O+KuCygDfeWLQ97RI3sKc4MX8Cl9X31WFjBHuw5GL4JPLOX4/WGnwJx1Ezm3bpDEHjkhmo4r/M7oweJH8siZevvvhFIuppIofvT0nXJU0TeWihs4MxlcXQ+vUgUmkQak5bHbqP6fRBFzIqsTgEzskkgSorOgq1QZxK1DYvXZ1yI5bxWukKkiVuZ+gTSXF2D2iDgw+HPiyaKeXHpjCjDfQHDp2JN/kJ3xCvONn9lyxva1UfnFLAJO3A3rRD5A8mHT3UiBA3KPyCUuTHs6y664ttQpvQ8Ic6WIITrelNsZy3RJZByFz7x+N9ICndfzqUDuvvdzdkSvUXNi1eAnPguY4fRAo0qtJWG8ILPweEJ8C+QrxDN+GvDc4kTCeY361yCepO+dBZhWmnaxW0gFNhTQZQXR6LVqHqYgEUZdz0bqPaZ/ofYY2rfr4+aHU0Nw6sxW/RYX7qdgB4untfbOs504VUe3cwY2ao1FNfycHCCbyNQPR61DovNkcfSFdLclPFVZHwsWcqHX3cafTQ23FCcKEay6Rg3ScpknGVBgbr3Jnu4ak6oGQz/0nQMWDrqNIZh8Y5jtVEqWBUdMJ14rrmFwOCylzRkgDe6fEAycJkU8j3bGVyrtzwpzA+v0CAR6AFQXAe4v7mAXPuwwsbE/ZzzolNqofcZLwhaDaxd44JCckaoAas1ssQL4FhQF95VzaKGWnKOitjNt5v+9jdTbuQ5S5XaD1toN4sOgZsrbO2g8HEtVHCGyYdP7ZVuLCiPn1UXlO5uzW7v7/vGtoEP9uDDVQatkwiE6T1txbSh31cTwtdmltL+9yv1b5GAjSFiNkpMBAmARqzwHoZTA14Fz6buJENmiPFN7g3k6NBkQMJn1sL6yia9WKV1mOUUC185Brs5XCbnRAPi8SYq6Uh11cgVnOs6BgNe39FhmYnnDviDbFbnwdMe6onHudXdqZvvDFZvgzIVdl+PCH9Lyz5QN3mq+CXxB1Im650nZ2BxpQGD6yBTQ/LwpzlrXOcdHmztxceaOqRLl1OGmDqM9UhDuTv4mZS0aSlRFx8koL1/GWd0GjZpSSDVQe9P4tbY+vCkvZyk4x0rhkPUgZwl8haOB/DrL7W3288hoiDDpdi6+SFIZFHGx3a3GcfAFE8LACB7uWojQFA7aXk/o7s+8KSGO4MPkc8nLevLDGtF3AS+wMG9PqhiVmA4a78QFEvQW2nWNcGT5aorEduXKTy/lC2XSkfVAY2VUgqm6S0fjxzmGhXZtadj8qxc2FR8bIP/kKDeB0DRd1/18rNKbWNwPhcuk3y0hWaSuk4Mbe10enrts7+LsEPnuXJ93AcJWxeMgnlyIsyVfsXWYn8w7X++ppSeGS4Tw9vg6Qq+6M5VYSYN0hJN7S6zhRRUcnSHOXb5N4lhGAPUMDWKu9qPust+p+XHb76D5VGA6VU3PGUHT6Nye9m1C+nVLOtlRuWi6VfU5TrRSBA6GO4HbK9H9vyBDzcpN9bLqVQvrhDCrQCvzzcZ/KkG2pFfe7J+o/38TP1x6lxnc1mThnG4xQKFgD5EslzIqbt4Cagy7Yot8Csu/jUvsYOytPxfGi6TbvPVriFoBVal6mfk9VclBR8FKfJhH12fF6X8DGpZc6hn1SBee6kw2F0w7uNnSL5uxoNBVpaN86Lyv+i+yTncMSMCuGk7ZAbcv3V+OOBefHSPz296mfxR0a5DWHt26Itc61vcH0A3QcFk1dC4tiFTx6d/h6CU1Etdnw4oirQhweoLfXAPtPQZ0K+xKAhqu7KuUOR/O14DfgfFVFzw739oiY5qLWb1mf8xXoZCxYQC3/rdGw7uDRnlrt+O6M+Qhny/tryvanuDeAaepys7mikbAnmH62Hg+r9swItZmzHdfO6Vb96JnlAupTlB8t1CaxUeDAUnB0N+gjVbcoYttl74coxurmYCk/Rgz4IfVuenJphPqaGA3bLIbTu88UDCFx7dCDqH6c1QhfKDKa0JuT4U38mpVHY28HyJETDqvRu5rOjhhM465qQ4+bQZpZJSyDacIOYOU9iITCm3GqjSScX375MIZi8u82Cs+eJkpa7Z9GjooHWlIV6pMnrFdpCF0j52O5vhEVco9P23Ki0/vgW9y5FSncaTX91mq1VI1ScFweSFimyM6OwzOmpgw42tdjtKNOYjQ/C3wwnEI2VBCGUL7qVir7iZc8RA1SRd7NvWjvbBYfC4iG/c1TLZIF7Xxu8eMw/JcqGDgJAHJkXdeIM+FDaiKh+aqcgMpOU4tBRRGg9UTuYNerS5iqCM7PGHgwIKJUMYEU1EqR3qM1HvDWmqDIglB00A+MxNsoMDARZeebSJqOQiagLnZm3Wnr+S8rmpEAAxVU6+qo1Z9LcK0cEPHeJnvg6BmIfUNfKQP4AwbwN1hNQB8/d2EBnyni7cYg6DQH+scBnUDMGmTUqmnVUtJcyykFgZNbGNpy/sJfP9p3M536zaQfkwibtwrizl/iN8FPckZb+Up2dHhHjajDGBxARKbnPG9G37/04PIY4cJdyuuB0KI99S+xRqypLjmsukbLyjhwF1BmO9szK3XpjY+sL2wZAHCuTYBit73GeJIaWgSa8VAU1iSMUDLXM09JtFCxNMbpUr+0bDeBZTo4D1hWpr00YlebmoSCJTC+QnaRgVBe9F5GQjyq+DlKhWXopaw8Ux4wmxlGT2ACgNbwh3DVLQh7cwYqvxaSO1aBqFuGIpWkwqs/1XaCNyxSGcelHCg0Hj1owQTQtVxwPvQoedCJem5DctWIzDDqSFFrZtaJBzZx4/DGx5FXxPT0lFnijhXuFgDBk8i9bS5nQDAE5I2ix0XK7DBzIh3uk8WwoR6zTQDpFo6v5ohH3xvIKYxz1/6zcDL56Q9z+1VmdzhNgoWaIczOcYfeqAHcRDz2i6y0YviQtnh8FZdIKBSHgUykFAVYBpPCZqPN/7MLwxi9qrfthBji9FA4NEZFOtq4/APQ8GEW4XLYO7kSmIDCT4YBl+DlkjuD6oqyuEveptzVmXO7WAsEb00BW0yYO9tohsBF3wCtOCcBf/YnduL2X8YiwtvaOxOw7QLAXkIx0I5lRhuXEBhU5yfb9Bi7JSQQgPjR81CsQCUEw/UMlJTwDUF2iM1HVQryzGwqwpv8xAB2HZta6b/nPsGF26kvg0g4iEi6TaZgNNfEaBXPNzrqQl3umqD/Hm8oDULLbrRgXvOs5g8WBDMUKFLbe1qVzxMOS8Tlve3lH/NXYVxlV7APEWkPkG3HdYRWO/paRG7R4zZceKov6o5kFQGOLA4WlVG073JrR9aveMz2niYcYcyGCc8Wr8IBKJ2j6Pvp/53bCQu/IESCZ+bP+O3dHtnhx9e7nikhiHmIfTXsrM+B2C8ZPFrJIqJGcxNAssZuEdyw7KeeWLHxX1EpwKq8AAlYgoH5Ow7P8abHc5Iodhe0GcUsT7W/M/0GY1DY4dxQA5S/QdZuEQwJBbK/I4P4h4WEWANLd9grGtj+ITMHGnMQhccLxzbo+ESgZ6RqMpgOPcLc5yyRKieBfvqy91al95kKftpDar4k9FHQHMt65P47PUb/ixRyRmhfdwDSW8e4azj20Up+ndL9TsZ4tQuK0pwz/tvHu3Rrwj4GoWvUBbpDksDfGKfZG+P5u9rMo1n/pmSLXm8ugov3ECF/yxFL2ht3d9egYJk4a3E2H8T1F5XCoSFxfktcZAUYluGxEgFLRcrf0xJymAeCMwYPFtRIHrZWs9HqTwQZxKGC2eJprVU3eWAbGxcXG+PJcv7O2l8E1qADXYhrUB7HXZ86NJ57DrGkuX5mwwZYUgTQTTY710kcARImsCjP5aFx3OsYImlovKMt0yhLgBDLdg3V/eGUMdLZ/gPS14I+aKM+pjRjtOEbn1IMK+Z5mHgQP6dBTjCNSnJQFw87vLoAvBTqsfZHuBkmaF9J5dLouJGGfwH8OOTBqfy4eB/VrpYHaOm8yqtkcuD+YMJ0ChWs8FzpVZn8xv649yOGmrPQl0QpLrXniHPkHxO09eE8rikjkIQW8f4EE1GkMi/JdOmabLI26CgMQoWwvJKeduFxpf4wWp86T+IwYyE0q3sZw+VhtN6EyIdWUDkeEHFSX4zca37aaHazsW7rFF66f/5xO7q05GhCTv3wB2sBcPb4V1aEGKSZl0IbFIJFTyy4Oz/iiQzZlb17tkQm5KYUk0R+/VNOnZBmeM38C1ZZaFWwUGkKiCogec3UjbTrC/Vsp7KPBpEUz3V1is6pByXsQZaC7+U5Tgmf3Cm/dWmnq9YyyQnayi/eXCFBotWI9PsHrjVGxoXTt5qekaeurbmPlA/uzBhkpq+tPPTtL6owRjBv5Vu5aQUgFQaBgxnhWkZ2P0MLTby3b6RRW8JMEKSYp5tq4SA7CcwAglShWu35/zO9U3lVk4Srd9GU6TSL+gEFLca0hJCREv/qO1HnLQg1jQnVKoDtSpxkuwI57tNLeO4LNS5bjcNL5nhsVXiJaDwGv5XM3zj8PFS+VQucn7jjjGDJ2Slr+7FwxqYV5zmqHKW33fTAEqdzincclytw9SMEzCgi3YSkAiZYJ+cuQwHSdhnGDri+/8awkdkId4UNbdoCMPHPhWJI2T4UQTH1sThjURQlzoklgsfybqzSg7fWvwMgoEmLjHQodwq4aB5fcRikyst9zZI5h04HX+eCJ43enk79L1ltRh6uOcfKn3kREuwML0URiXhVt98USfcQ2FSQm2xg0vUS74WlLl97PyOED1LKQHqFxvvbSRLxERSptP3AsdVsCHez0sqfKLntikp+1s6HZ12riQaZO5vvluQZYu6dZ9Zv0ekoZuPJtnKGSRtzJt8Fyt9zZDkC1tQ7F25xzcnDYumGgA9pVjCMOXErLFXmL7xdKIQdg6h+7nhFkauyI129bgt5XPxCjNVQk6CpQfvjzZfzrfMWM0IasG8ALV/IoBuizGSYyS4V4Sd0GPgWEi+AulakK8PLQ+50Q5HEn7AP/VvUr05OL4ZDaFrlkFDdjQXeI9VTlldH4nvpxkBtUK2yHsRPFE9YlVtVzHk14vmtpOkPGzOq07S/X7zs6k8xAnjJ8XBCANL7PMmAT+q7BeCm1zW2hXkrtlNc+UMEkrKEnOL9GtoVFPMmd2Aty5uw2MR09NIchpvYgx61Gl9GJkqrk0qEY0RoY5lpTTH4E3CAKndpiLLn3EcIKPf4mGHhrV1HqTn9/09Iywev2oqUjp9hfR1tw1+TG9eGoB8dChc2Cfznqop1N8ExWEQFVfz+h3gbL/h+Vz9BTXHbAPXYt+iGCmgv9VWjmTuUIOiYl4oxtIOba4WvNaLqCwXYY14spmrPEw9vMtS2ylpRHeGFjsVvHe9sFVkOJyhXb13W+9MnfRxOIwe/ERpRSXKcjlGtXuzhsbIS4GJLFJ5P+jbr7g9rmwQZ3uURTdAtICW498x7fTGGzntg/pnllhCbpoo/Hw2s+ykkEJm40JVY8U8EPYe5oP5k8rrUQy4Qb0WGkWbra5n9xn7C/VmNI4rp3st+INehPo8eVwMaLYT1yL5Ypm9Fgg2G2RBH7w076PvxD6FqosuISmFIVhdUHvNX+sPPVK967lX/UPWYktRepcmu2S99C6pyymh+fOTG+Tj/a2brIGYt6soEe5Vha4/pZz0tT2CyvzNwwgIMKTd7laxEGbO5cSfwO4h2zY3jaWgkeVm7hJ4t0VSxMAyeOzHuATUCr8wyE3VoGx7e8GMh/d1itQwZYHxHERBsmLgR7yS4F3cXMid3sIdy6unCotmm7ROVgN6umWqYMwOsafFOr8iDGyD+k6oM1Jvk5fDV5ximQCYl5pLQ+2PRxXjlfPTvsTK3n+Izju5ER+SVwySehxI4+U/laqqRyhf48fZx4N9pD+I6Yv2MmmMsnPIgLGzL01GqQMMRxwbLSjGdZ4w7FCZXCeTCkHMT5OCm3lAXJRP6hHLKDBYMc6mUjokOZyEj1kd5jKiyYiarnWB9vc9NSkSpgyrs8MsbEj4Y6Ifv4MBjirCELEpi+WEaw+G1tXhnWLS8seBIkid2TINFPX8GnkNN5bMDA1fKrv3jAySVfWhpZgIQdTQG/ORRE5wjGA5xoQ9N4hGo+OT0Qw2wPOUG2qU35P8dBpHtEEmRrnGTxSqzSMTpz+rc8q2lFE2Xj5waf/Y7JR6YujIUW7bbHlHXrABxvzMPB4eQV6a2BOgSLnfStGNFXpX6jSlSRf81Uad8EQOfdhWsp0WO+t5xdU1dKtflcRGrbv6iQZHHp4vdnoUcRBdAmzKI9z7SWpbERN6ex9GpgtQ3wJQ9gLhyasqQpkjVzU8rXu7KJ48H1+4fMYliJccJVUaT7rBq9PIvkZmmt5O9H4UR+flJSNowLNs9gyDQ2vspwAKoAPgTfquNm+42qzzcy3kvrk7BBRni6Rx+gDa8HR0/30b4VFWQVWprsG8yieMdqZComwIYyiRGcybTnKE4ocb9+E7r4VOR+ObdW/dHjmkWkd0aJcNEQtBPFfkwfSAnYidPB+vdK7rlVN1sgaodHi2jr48AfrtDJnlzpOKK0MDhsv4d6YXdXmlIIAtYTxYqAxY/Lcks9Znyius6JsYV5mBJSZxTLTIqqLZkqVr/TOW0c7Bh+7sQSWJIoXvnh1UiGjqlpqg1+vCMzoOLV4kaNp7POuPCoqMX/VkVAl5CX/XQd4OGtBjt1IKmeMuwNy3YPwiXl1nYDSmeW73KCfux29oexuw5S6iJiNhBwji5KNJZxeXkwXpzI5h5WKmIAbb1/pX1mzdGKJTGdUgI4rwdjZNFXDooGIWRYb20NIdeO/iYq7osJ+vbSl8jGEsB6dSaUWnqB4p5RWAZ6v8K54sVq/4h/pHhrkT/F1B9gYDqYfcVsveW77Do14AdWFu0TD7wNJLf051ii7TkbLzMV98mqUlTZdhK8GvL3v1v/jll26f6SqWH/mODRyDxO0N5nmxIo0dZWvJQb9UzbH2PENhHEqgkJkFqlv6aBqaTp4PZoUOmoGHB77zED/TqiAjm0H3cbXczL3r7Wm7eCXTGBjMnuINaFQu+nHRa3xErQJdbGwFH2BmbhTLO3MPvhj7mRoNLB36+1nqPO31E14wCYdVYKZNCpsZEfQYFTUQez0MxlgVLzkqJ9y+QpHNJ1d/0Ni5govEMdR5pda/XNppwSrXGUeDFVD+anmqKIFj6nXBmVFSnR4zcng/9y7IpMZKknwPId28VX4UD+cLSN2pASkupNEbK95j8kP8ei1DZF6zTByBDCD3rLuNigqvLJuUAmQU4k8zonOjTI657Tb4MNgr6Qsr7Xr3vObEbcBT4BdWp9SV90m2ODfCLnQi/CF7udDuPho5I1c+5m1AT9R5S6pNBy8v1StwoLnMqtS9uFBSoK9LCRWBtFVtYyN5gB6ACYMEIH+0uaNfov5NuwZ0mAci042DbHq8uDwPmRLIaJXngB6R2UCbO87mXwawY3ZUcJkDKAbLrT3qa5djabjn+ujGh9YhECt/voTScnM+CfovHlChjPW/L0Df8k+N8pwfJTbF/29asSGY0NfhunGX0HA4L3M+xuwHUXMmJuzaiZuT4BEL01queF609LNz8CsAG8C8VE1/PuxOw1PNsp3QObDzLDeQ3TudyZ6414m+TrrjXb/U0FhiuM9/FDHu0cBM8VOQPg/aoUlWk8FmYimnVEmQPULmzDo+hlsSRb71zJwOEHxZnL5r3coFz1p5H0Y9d1uZ1MqYXNmh4PXc9XK9JYYbMrpP3BdkL7qooEHiN1NuxY6ngdrNDn3MGhRZ40ez+BVMnQXv5uSC4fIxsZK+tcQvFaBxjrjSyjlAz5K+N3Dsyb4wKHkz0MZf3vHD2TzMO4zZ2v+lrwt235BYkdhYnsd4+ESO6KUOV9pu50P+bFMkkEz5JaxaIUrWFMeIgJ81eliQcfd0hqVlH+5eAipIJKihp4jlgwRMauIguqcHCb1lvYnoNWui+TbcwJ+vZ0typ7fz/GRnYZG+3kbfkAerX0ZfSlpeK7CVNI6rKIKoP6SiMOUkL+ifyX47RmItHH6rWiGMR8VUap/XfVWTvyHiBCyISD1+l4raOhsjpIMTMuT+ObCbj+dAH1n4A40Fn3JLpIPrNwKqJvFmBfuCl7yoqtijVxDTWrABsuX1eSeeuHDDV6OLK4IF1+cfUWbsgNIdCXuc//O2ycXUy5U2JC8y9G4k8EFHDWeinbz7YmpphtBDJlO3S5wv6ehOlkP3auFOoD7OZH2XFmeLHbDyunps7kQCQNqVgME4gASKvI40Kz/iFJCKcUWUjGFNwH1+QEan2fTqPTDWtQKqTKXIT1TR+RQVjiJq6B92R2ApS63eV/mTXR2OyJwWGo+fGMdyxlcE3HjzMUFPVeSAdUk59A7GhD+0sHJGzZRoagxv679IkU47VnYZy0YxP31uZfqw3T1H/T/Fbqbm1M1qOmPjEVd1htNerlDIbuSLQyTjDfYmUQ6106H4yxefSlkcdVwBbykXPw1MOyLo2rI8YEf/UA2iCYPia7Mr8InE1xWTA4RZSoI8gY1YUKxRsa4bnHMdb1wqgXXx/Vx2h03aJsClMquYATmDH/Ft34lVokPavOxlQd6j2Ljs+IuMebFU4RO/TtCKhtSyLybR27FPlDD7+Yald/UGSTFVsily25zLHfVRn1efi4Xe8nk8TZuKhXgiwAbZbSmDrtcA2nH1DUV6Vcq0fObm+DZMKBa3H5JoY8EKCCpgCct8xIquWkZsDjXfwtXNYdeBR2Ht4I+g5MquYs6TaBMFgA1iGcAAk1JeuQKFuqfgJiaMcbvTUymjt6fIH15RwhEPno1sOOcAempOYtFRHnNS8BeUYx/spIkFvhh7V6o/FGVWhyWG6V+nygLOIEY9UrgfnSFdh16fjlOenN5BUvOHozRRnDGDvgCMFE+ao0hUwVujx6wz1yb3/cTBAS3Q07GihTmDzqXkFGh2KHKENhm3EKXfq/uJ6JQgWP2SHB9f1lgdS2zY2uokRQHRdmAZGdxFLDLYSEAAmmIt+ueXcX98RixfaKb64pm43YrCO88DVSG3yUR/Jk9XMjkyl55UU1bnu85GXpQ2YxsxjVAJHXQqJZ+CW4IvEL5iZLwtwPnLnEJcUSaIi2sf+o9CvTz5R9MjzfilbQhMFN/H+z9IdyaETGRlVNMjXNQb9ikzDatsriqh31DUqH8a3hxiR1HdP7ruBIypx8TaWi2hCnN/lHxbdiEiunRQeYXuxpJsL3jaWJ5bOTUG5kMl9eyFE1JwVH01IT2Vq8JVa7iCfZGDupFgsbJuUP4O1mkc1yc39QTbvh6tOKkljtfwoft8IOo2+vu8L05yhjjGYCqbn/Ym0PCyuycupvDXfqW3y/IjPcDyKQRzTARqBLmk3fCFZnd2HKEgAc6w1kD2K1nY1t08Aw83kLJes8TVSrXtnfrIpLeXaMnrqU96e30MkSe9S0srO/nAAXL0SV+I+BepJnEPMxIWcUWcxiYb12isR9Sd/LV1z9/VWWnQp4tJ4lffh74TvAY3kBP1544NBhgcsq4FCSYy+qqIedoHhKz6Tr61L/xHPXxmP5JO04ozIrDLcfN26kWceN3oCi+vKunVx0JYlDRR85Kovdr/bnXjcvwuXBHBowDDYQvje04Jux8yRY+fCt6oXugB1WofqO3imU+WnTSyejIixnDB9gyYEvfBRTpJNP6bdUQGDYKwZe13yoe5n6r5Adq7tkea1bs5NUIw73PpHAVqH7ViRdAzyiNRP63lQiKHqV3PbStNmNCexlIwrGoWVzFivKeQcTjDrCzrbGuiXcWuWW4OLPxS1LQUI6ncNZYCS6JdCC4k/xWicnLamge5GA+2omjwfhp1HxzyY2JQoUZ8QBz4XjC+omQiJ+aYUywOGFLb/dU3HjCXe/IxfzOHYcLz6HxvNF9lg4Y5ps+KxziDVQWXV2uOR1xYDJto21am8UfZxlOHdhLXzSgXmNkXnyR8P/Unz/EqlZhKYgGxf2i+T6jHGkNPuKsgz8NhdETf8qG2XsfcT9fWcVqpvalg2A0Q34wvTPubVqL3lePBsWon/s6K6ySGL12CCHS6J0GbOonQhjSnjdfnqcfBMj5aLSh9KH7yWLBY4iY2TTGE/1/nFRsZUYm6yqwAoKYebuN0ICAq1iPLOo+++l1Uow2tek06i5ORA/sd72Zogmfy2ZYxQT4KOeYUGTy1ar0bjCK0RailPRJr7mykeHSdxE1aELm+yct0NRBK2T+ow6zsGiOgFo/RFXWdr7EEv+p/+dtI0yroUiIJwdezNBJa6fVHmuLQLPagqdzw9t9qz50faCUBzMTZpRzqlMb4pO0gdDcHh/tMTcdHBXW1j4eNDv1+OOZbxlv+fuICSVskbeu4ZUdgnv8pE4ElH16kQumWSN+xq3EqUwck3zRJuGgeWUDMNV9tCk2VFI0SPlLMchiRmhzwdFaOGvoA+fiU4CXxWKWp07s4Fv8TGN6c2TSiZO8S90tSH0L7slNRnz4bl1G4V3VBT35zNmfPoUaPizhRmXzJ2XWveXqOYK+my1w/N+rTiFWOIgxPT0mjZHreur8l/G13afSFURfIcp527QLw5TZJfaDwjJgADC+0Ot5i/H5OKRwJPgkhHV2Tgbu2RMNG8hSA4+sWbO/VttlDJvWovsJKvnwdHOCsas95Sfx4VziFv/Rc1KL/HbHWIakp+Ofi3ha5MP/1COifu4roDbJY1wftcK/z8FaF9HDkiBKAK69eIHGy58XSegcNzkUrv6DgaOaxTYcb2b2CpHhzH5WX5Zr8G4H8bJqWhsuU1jMpzms2dpmWto33Fp+lZwlNGeILFcaquDy+jsGFnNyugj5dhXkD8975E1Tp6CadFnkV6s2oMkQiQ2MLDFeUzjCNzdjL/U5HIRchpSFlgeg+DnuOoYa5FBzWyZRMqJXYG4eXzwaiP6ChR/hX+oOwbV+ERMvAzzCyxjn38zPMCx0yVE5C4XGWDc409mXrLNtRla8hwWog34vkob660YFNYIPKHvf4a/zF7JmO60AHfwqZMT0mo5+3lSBEk9A+3i3Htt50qeMXj1pnHbLbCux2XJVct58xxnXc9BGTgvc+pImGDxCRn8/ghWvGwPRADdGx5U26Sks3K22DmjxiXvLRO0+r4hwecOjy1NApjGDIL853It9J33zq+puPJ4IgMSf9yLndKDQQvM+LZZVMeKYoYeTU6LF4s2WAktbQNydMv1xx9JVSP42elTtEJ5Gs254Chr/X5FQsIQc5o5r3F2yF7jXfuvbeLsfI2ekqZ5Xdz7g/68uty7+jl2Ln9xUsXuGC27+Q8Hqsc3NHXGBgNm+MvpqaRDTra2QL0bQ8GNZ4RwkJoGX/fhgzI1um3DNCgPSJDgqThRwdxcI4NvOGzFHJie+N/ijpPraRmOTQYaAZoPeA3t2GDsb9Ox9IgY4nPzdl/b0CUSIU61xwC5qkvTGPyqFOLOf3tZCJ77J2nq6GfpIAClwYH+LviMgwxbKBsY/HFLowcOMDp5MbNGDKnWJMddNUmV+hHv7Z117VtHsSgNZ6Z8Gsm9wdPCOJvf82Wr8tvMg5jFhijytKAkfZmywriQthJy8NLuJhvsRRYGGb7Ni1M5XJsOylDs4PQlPwXOLdyu0OXcNQkBxOtZIfxyKKuFez0IOghCG+EXHf2IrQq/r6sKvhrYG70PXlxW+CT6OMKmuvZ27wRUha1qlLSNrqj7iCKI9AQ8sV9rRUyvzltIO9Z0mSpZtRx7xqIKnZVjkJwyI9G5e65/jVV/5/Sj9uANo4/aFu72NuHJWsao2qGqsyPVR4OBjmVnFrnRL0JOmhbNiGoeSoGaoUG3w63jzlJEJb8VRsKTwLwQ1xHFCkxApkUUQ+EZawMnBq74qtKtmQHE8l1OpzZg5jCLxj+6LmImklOpSfcZEyNQScwx6VvH6wsyIplw6PwGW0M/0PlsKlAouPpeCqk20dlshBScb8vamtUFP4n3zHy3dwJ4L21SD8ZYxGaVAOS2/8OXG9bJP3I2MuFFWlsZj9CCfgv4wP3H3fP2tNShwOAAgE+p4YU4G07MeHjvBRsrQrYzPv7VPMGsw0m+MoBXQsTkeafvvz+bigQ4pVeUhEL1RlHr9+Fbdofe2bsYfQb4q42GTb/27unJDOwJbWeEOHsLcYsXfscCf5JRXBt1q7y80sWilCdvWo3CGQaUWsHNDA7H0kRtgQUuWz4FfGHKI4tbCRJOm5h4ZZ/z5p9Qnvwyu1Yxi8/4TFKQvJ16q1kp8La0cT66x4FTsNmzsGNIy5z6EMG+qgcqQSYLBYmwEbSvJtHpawka1nMX5L7gGcFOogNyfqHEJA6RDozoqPh4zoijVPabov/OnXEEXXUTBBSmu7RHNAjgtJY/CKJ7aTPKiQyapuS4+ZwSD6OZVO7SfHzMutfUapNLDEZpWT9lqlkRye4UqngY89Sh8AXKuQ5VcxQ/t6asbCdDkcTBohnHEmP7WOtf2/78ohVwug+MabQA+caGRn+Mv5f+Ac/cTbsam3XQhwxTmmldTqrDwXuCy4QP6hKY9TomzgyNDRJ58QKosjAJkjJ7J67PrwFAh28NhFn4wJ6xrvaJualZNZnSAlir/PE2+4djmQ0WSXnKqGJUPJuvkqzEaFDAOc1wXqesQ7YuJHPJxoxjU+SQvkoBKXXccalLbJX8NmXvFyiGe5Jx2L9x1xpg7OX3j1ex7DmcLi8e63x30uo0B+YUUiOtn/FdAezRq9ONAD1Rxkep/lTUokCnQQqrmC2AoOrt1o6EMdycuEAXpCnHjlgxjcyonIQS6WoqUNB0t3TQV37tKXEJ93WZnCJUNP+b88XCZ6a6lMkCK1JWJOYq7Q7YTsjk6j3H1VHIhR9LV7PNGUAdwOZz+Pgq++tHfkaIbiwCfMnjsmkBELGisp9MnsevPdHdSPubrinZ77ULBTA96LFHRTieLsD1YQAEoRASchyUlZ0pKzmCRHUMzlH5Kjw6L1H6deVKRRUp1xCh/ucfO74ONrzE/PM7FDcIhJmuoj7XkYX8AuZ8Td6Z65TSMmX8hqYD6dKFYg//g377rB6rfRmSK1OJT6pzxUkaNucV8nKlchxostHVMLKe7dxf+gdk2GTfQVxANc5Ahe8kuwSJ+LQaboK2CNSBE/NO4NnPoyhkgPtu6rldiK86pJlBzBXP9i8H0Q9m42kwpKl1JaF+/zUET8d2nGDgm5KeAi0MsxTPQVvUyaYavr2CO8gjJrbyihvq1BtbfNJ6pD9jloYdF5O6tccpz1SrNan7CtyQIXzMU/M+cOmYm5hZS/AHAj03uIID3yYSnXTTLppaDP/MlqgWER9XReaq1sUgKjaZQXzHA/sOnvwZ7epz6mYp6prFkIPCzP+JSmhGXDb5Hkjpsxdy3TnpQTv3LRLl6Js+/Qpdr2I+zinqLYwZdLkyTLD4rdHdfjqILzZkOGQgwkbT7BRR4gnhwNZka9Q+q3o+QH10xhlCOjGQKNEZSKkQNPSzusV1J1oaeOKrWom7CgZMSWHSaeAOBo5gM/Icoy9s/m7gIEy86a3ank9FffXWKyyf9qqdYOM/Y4bKGTduKl8KncnxJyuzMTQ4C9PRBx/vgqAgZOBbfXlazz5iEJGfzSDvD2Af8zZmNN7AJ9HhyWCRNgPzr041iCJz5QOtbTjRbJeguRtl4GblhBMFvjczQ6cRrDQ7BHeHXnJRtrdu9KegV28IBnbKrDKj4uaUy/x86LaTapADNj7J5ky3z9Ej6JqnN7wgNTp1w2ZVvTITdOf95Bm2+FvrhizyLVwqCT82y8a1fmgKHX0YyKwEpoUEdyNW9G8gIiEtEfL7EWMQCVQkkedQCQPL5+8WBbpVJr/H45BQpMEGlbKpbaO/idxdIT871mGyGXMzfxEddfTqnU28N+QMT2fW8xTd713+gF5zescpBstL71GxDB+Q15g5xc5CwakKmB3l2uzbMXqtk9CFz4NnNenlO2mL3G2SdwQ4J2gmiC4Q8TYoK1D8WzIERLeQBrLyn6HePoQDSDoKRjbK95qYt/HufRpuzVycakK2MIVBUzD4ajEBV+A388OjdjEanc5VVFXzr3t0SyF8ilkZPUaLBGfMDCq7d03NSSAR0JWMQEWRw0dYuNc2r+c5WSFV8FqJwehS08uHwSTRWa2GlaJsIctdAOtyyQ833lElWveXuKwTEZ+29RGGmp6XvPynB9V3R+BNybGblHRsc53QdI7SEWUb3/ayN4WBP/0nTH6WKHryIst4H82U7waHxdsZYwR+7srjZTnTmHvj21+YmJKQS8/JdZwPM6oy1wXHe5t5cvJ25W7MEIFfdyIqJ73dFhpNViTDPfRnBQoujjaw/tjR9X2lK3X1EJ8/R4uTQmDGXV5FlYVjKX27Ko79EsDcNB4IBZSe+4DLD9d7gykvSQ1Lz453LmKCtTU2df3CzPnnweu5N8Bn0/YbllhbbSEIX8XDBz5OkcAvssjoEO7V7jxheAN3lQVJppjX4ipOu2jyQnsLa5pJR1lqWUupryDmJmQWtpSKDUhyE2apvbiBjEERWBkSiI8rZmJwqYihqeG/1+1MXqZPxUcHmAo0bV+PhW7IYsx4M0r/grbOL+bBgDlxNp+lMGGf6VwxT4gHKL+KPmqIkcEgUHi7qzHcObWiLsQnspb7V3RvitECInBc8OVGjFbrcOS9emdsA34ED+ik4eieJmqw5IDImVbYCBerp1EZml4StLE3+n6zaO5ETQn9xymtc3CXaWt9qbUHJmjoYgLONYHxCHzcdPNCEZ7ZGqv1QEr/A3Z1xFliWQVPLNgzfCWL7XkZniSSfZ7nu36TCj7E1F5ID5sx+eu+FELSWEj6N+lZafB61eb8g9OcGsu8VknfDYf7SJYCyIYQDjHdMgn3Z81ZoFBYpQ4O6ggPNOfJjltlIu6a72DnoWS0qeoIIAkLLK9CiYhbWBCCcZv1/eZ5AzATYAMRxgHpN/rLPgaJiIgxoTB/UWPjAXxb4NN7TBZTv25dQiXG4p3o0isUeCWAy1q8t5Fh5KYF+UE/Nad+7F23rRwcgj0jdZGMXHTVmmOR9b4EBmEIZBJA13anSoPJD9ELg91F0H2nH4UVMVJw8LqJ9jn2MHEeQWP8IrPO18B8yOc9CZiuoTdp59zItFcOdrZjAMFv9SHw/tDo4/rG/gViI8mQuRpQi0bMA0H8Vv2Wsm5VkNUgE/4hN4KsrG1bFqn6vEghWgQiDj52dk2DpXcOWqGd1AOILl7HAaZkQXzNIlu4GR8UPmRyphqdRmDMqLATEdtJKfG2DSDlVFPdMXmBbexNyftz5VOZKGXRqe2YD8YacfCgWRYldIDjhLMlLuKhRnnI0X9chcpSEy6qUugwbMLu5rODdKPK6S3j4IBZnuwz6b47cvwZp+Z8rhv/EMyX95/Gnw95aUOxq04DhpHAIEiIHsXpSGJvE1Y32pn80gpxA1M5l+cZdSg5fWo9Ju973gW/N/mwrm5B8kBVqsWtTslNnuxM7k5AfpV05mA+xMRozv+t77sqkK5FiWfVE3QJ3qXfWoGMQRoCuPwJ7kJQ/01TPpBzyCpyZ7q+1bfSuFvRuTmMgj5inbe67BtA27qKChcw+rwK+h33lUSRlqywIrTMAztmJ5Fd5UpQwHk5ptSB7lM7fJM3kFX1r152x9KgZEtzXYrqX5bBeqHBka6mVuOpc7avcUJdQUbGPPB0Chjm9rVIpTf3zn/TNimN/8vExC4jnhtZPKiIOt/7kzUX1Y/0+T27OiaXaTWbHI2dj5yQFIag/FEKnQa2XQ5z5d5P6ZIqi0jb4VNS3vEICoCG43b6a6h9xpglj/u1DAnff6pTzN6dxRRCc5B9c9DAm3lAeGKik/hqa7ZHH39g6riaw2W9Q3SjyZDuBfOCFb75bXntD4ZWcLj9ZhF01qqM9zi0IwOYYdTKSk2mkrAlhr8c/fzFH7GwZMrmAq4cWr9LoYjcV9u75/HWrcHZqi+wfr0TvoXSnUpX7MLczOvcvNIQNKbZ8LVkkkIdwvTK68MHHwfARGVLsUwsW2Sw/SHLi7pbJnaxtu+MUltvai4/o1SSaCEAs9qxxNEl2r/A4laKLxt+O9Wlc6+mxlL3IhWWc2Eu08ZgeVobE4bUuJyNQRX+2hYI1mDm+8L2pBdSJ49dze0eV/QDfKOKCl3py77I5hPomE0wb7gMYEMoGQya81fgk6X6dytfKWMn2FUJF1O9NKIp/LdT5u8yFcTaO9oHGF1GVPpT5uTeecn4PGFP6TCKSm3ceSjO6mqemjpujEInGln2D5tXwFoFfQ0YJXMNF5nLkPPANa8vwaluHfQyUNLJLIJUlZUYQjCBDCn+E6BlfKbmgKeUGHjdjd0hmYo4zE0GIgkjMAd3OawCAMq9lPBZjkiDUdY1LmKyz8aThjxmbChJeZMX84kvHq51Hf7cc2tb/J0+rzrUP01iniZWFvCQl6A8KcbudS72o+wI6Agt9SWCEdgKqJQ3Xx6ERbWP1g4uRIjreOZBBHNxpCEIX1NtmSz87Pv32GAMxex+G++7WZ3qIgFsq6kYc3TX5bwvY9lgtHI/YmmeMb2N9imISMSNwzdoZiWgVI2qfgMPWpfyu4N/5hj47lGFsyStMuHF7+orxsw2yJOnCy6meai5X3KB/E5Ah1z0W0onSLWDuf+ofN+72WARI0fqguGXUYxL6jV33I2+de7vlIpt0DGMGtogut3aIOUdyhqDPmy0Fy9QxOsiMFvFts+1x9PJXYj1pJv9CLbeJqHvNnHCEmlR9t6RQ5t3U72wV10Bzxi3Aj6GQHH0kfxhZGXYv2KRzJp7hRj5amKrl2rLHez0xpIgCGDb+LXI3zLAWjmxgegmmTP6fm74KzzuIFiFmFKK2yAvlWa4bq5bqGKJpTw+ZnL3uDN+oPNddduAAeN69sj/xY45u0nLHbVUKwyrJnJ+scCWzoa+m5soLOUmWsBiFGoneMI0f4yB/hboHTYAlPf8PwsbA+Kxpg3oTmpvI+Qm6Bxb2KtLRFGOZw6cEWvrAe4/odjLJYynJhVZEWNZADhTyup3/AYNyFZUR0RrPdBfOS1fZEX6s4Eb8ohkTkBF0v63b7hdw34a9ZPHtb3S1RHG77ji9Eox9U1dN1nCcez4OioFzeuRmNBDivAEGbPmQBJoer/NZ3rXMz2BZWroy1aHj4zT9tUYoWESZQPqbRS3fmoXF2n0ZQ0BLXxSpRh0HfVC9/U6dbvZht6+hTuwVIJkP+/EBumZIbQH9mGCMuU+Ze9aArtu+UWKEgbbr7YusAik+r3TUyslUUeSo6yA/Z6722+mdt6zHY6qo0B5ah5EIFddN4kZOM2QZ39sccqmKO70wIHHOEZg82J1x9oPO1wUwOqVPZbmvH9i/fEHF1XQInvFIQnOzWyAgtfEtCxhDhlOH51pzDJtTBZMzEDQbdJ9WFWaai1LTBtAsKrQstSHN9bUWljBS7UkyOHd/sT2wIHcaogh+JVdJgY3F4oivsVTXfXsDgO0ODdY6HC3CTzTEEytVnPtexkrbB0s2snq508ROocti/bORKawSyyR8nmHFDrWD/Y2PHXIAHnluL/whrbpHEKQE5ex25jR7tQIF53Xj9yXDICLQDClJTShrwNKNC4pDgLOGTqn0C/YVhHCG92ohLYPwDrEYNFvM2VLPgUF+oNIZYqj/1vH7DJnn3/w2WM9La2aiur7DlfVTYSXCbfoqwM2chwCJtlEtY4HTHPgfD700s37Pjh41EP1RcsYySnlewvE67kVZ45KGMWpuocOVmrBnaUPl4CZK6dPdcfMteGzRanR/Of65Q6rNEZ8sqQjR3y3ebqFqYnWBqCUbmdHREPPg3Yxfk8uDInkGetgaOV72xjC+ykjQu"/>
  <p:tag name="MEKKOXMLTAGS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3" val="741c2b48-6351-4a06-bf18-00ec6a3b459d"/>
  <p:tag name="MEKKOEXCEL4" val="636765080402190539"/>
  <p:tag name="MEKKOEXCEL6" val="False"/>
  <p:tag name="MEKKOEXCEL7" val="False"/>
  <p:tag name="MEKKOEXCEL8" val="False"/>
  <p:tag name="MEKKOXML1" val="4HooU0THZk28POP9trq+pbTvvzd/gcV8t56cq85kb3NDTsUhojRA0EsgEHHMH7oYP1SYpn09ysXVivguJdhTvfyVMsBLTGvcX7WPTor/CmVJtXB7Xmfi3BZlo+AgV8FX0r4vzeIDiRu4L7s30to2Vio2IBpZUo0GSHdisqk8IUJ6mjuHNfH2Pz/+X7YWIRLfqgA4yzh0/v1c7BizHOrW2K+X8WbxgW18EBA/2++ssqPwmxvim9WsdiS5orwyVrQzJfiX79eudrg15W91LZInBaC08lSRfs4YmappX7vk/r++PBg2xdhzIbgme2UB5iKhMO6yM3sydNmsrnQ6G0W9ApZOYFl8MsKhv3fpJvYFCvmY5C4DAhIY5QajqlGQ129U5fEl9DlAYBCFcH3cGYQNVucBgOVAS4n9H79jtPjsE1Iu+GAgcnTHnpcS/14OrkrZYp3LcAmgbj6ycwB3VfiNOCiguZW2XISXbOd4E3gkabgHO7qxAL8npQQKP8XxhcKoGFABh6P27uwIfxTjpfSyS7YVIx/ELKaaoJYPfyMM1p0b9BkembAfsJufmDBKUwx8faDi336019DuGXsAryUEWpL79Xk/ljThiU7kH0YAhAcEndhv6gOmb4GEgoDjGUeDELyPOFonXtDfoYu0zoSM90Zw891cvNjRNWOz5I+2ddL2kpYuLMcLfE2XCN6rzldw0eLedri2EFr66hwVA7rTmIZWQuGvbJodPSZJj0Wgq3Pj9xEeGKX8dXkF51QazU7tcZOl4kSkbh6SB0u0Ihd64gaHnFs+X76wTn2SKc7I1IKS35AANXCYnHc0lUj6oHF8RZkaar0vAZSMvC5rSCJ6KmfE1Ot0V/Jhhfe8uQyUvuoxb8iEWjYHYA4mCH2zKWQKiUHnBBnBLH+tBIYrcIhckmqJtEmEwuyygQPycKCbHtyNXxH6liiK9WmdUjB4AdvbJvw11kVtwSJIcdvbZyM/eGoVfwdfU/opjgQZz44pajRSvG733LD2CAcrMF8+fJ+jRFtFDGu9B5DDauSfTcRzdVF3AhmsnZrO3okWBijTg7CACGTLW/yGs3XbaLE4wfFBnwq8gxD8e/7habtbsSwKBxaBRnHFIy1irx74l49GlfsoFgwfM18CN020GGrfXWfvucj/YpHxhTP7yZ7QsKmjqbeVQK3D231u0Hdw6Kch/O87PjYpPl5mOjfjqawifRkvEJCKtwd173+V2t/IiHrRWLGRwyGAu4Bvr45sjicWLjUVvnOVC8dj2/lO8ptK48ZDRx/XcBqHOJ6M+egW+vPTZ9jjvvZ81vrW2SGn8H4Xakm8GrZw74TAh/okGJgZN/D/vyIr0vlNzEov3B/X56MedAJ7YPha+CNMdZKmejFXHkz9Qf7UUioa2jTpDDayjM1xGg+n01eKA62JrN5utwUsH4i8MpEYHMLUZ/qCtv7Ms8lQE50my256dHZWnlSY2YI6NNmHQp6oGq89l1BXAMMy96uTKaXd3rjzAybsaWlhEoVBv0E7Q+gCDcaeLbGedXtICiGjmuqHwkYvkRCIln39Nnta7EryBlEq0NHWbmbL36W8mWEfl1/SMf/zN+WA8iMMwBm6m2k/vLXplorIEcpYUk7gvSRRAUDhKYmrQJpQRPL3QoWWCraj/2mCO1OGlx9t7GWnbCREt01rtp2Ba+CJ9U9CK+GWcjmzKrHAduSNrHL+lSbhRQR5SGK2jo4sdnffS1aRNsUdQnNT+FY5BEWqyN0cnWmogpNrw5QAdcKZTLnMeVhkIHEwobyLky1Wp153P1CjbT2tFm16R90CMRnk9TLuNjdzBl4fXwPx/F4EO+rygvwOQrWE5Y2/sTKJxXCCbkw6Ej7DO/3UtumvooGVC/0QXGKaAWtmUXzHq/l78aXIQDZzg+N26ZYXp1QOUINfSGUiDa+0vBzX8X1xz9/sl8VFDdA0XWp2qRXgQNODD3QfQR9YSAZlsyJ1y9em0/2UcxqCh463RmWYoBu2O/oT8q0pO5MLsLV6HRmJKRy+9BuNxGucHon3DC5Ixe/TW67Gmocd0aey2Qn8viAlomXldlJayPTbQtXKC43BnzM2YBWYaArtM0UPXw/LZC/q+Wt/+ba9Dsz7PwfCwfuGEzPLhXq2WKZ0jSmH5IbbtCvhix7ZX+ngbzmk6O/WYKl1igoD1tzH3QuKrB7hMFXyxiVqHqpNQ1zUMurHzlYvwVwjk2SEBKhOELRGD7mAF99+u/MBqRntuZxlo9tDB2JGkjTZuXLzXmcl/i6cND2lUtNoi8Wts/LqvkLwuUKn8LIqxCUMQvsa3nvBpeQfb80HiDmd4pgtBM84x/F7CudUoaPzt/CQ18q1bFUbfBo1LVavujRQHVfwkFtP78tJiNWc/9JkmizkOhIePW9/wr2EvaN4nWyo/oQkxwElo63qD7Bf088Q+yS/Bb9XDGa0J6yeXGJbXvyZfdc3HwtRYwdGTVSOFJ/WVW8XOpP2j4ce3SC3U+gPzAeBGkRzDC9X0qNCxGt68posWxocEHZ97eSlMonMFxwKYql+ZoVU/0uY2OAj6+KwzZ4y0cQCD0OZZZ+SEVB61mpK+bX4GwJRtJTQ6MxdEIbdtqP6fY2BSRjsSsUDPs1WUe3ZX5iisB+yvyFl86q25hee1NVfvBpqCIdEIhiCS7oFEcRnjAnQJWcX6BmcCXaTGfgQn2tdGwmXCtrWibu/AHGeWfFbR6cYVfi3QrsPtTljvOgQWV9FxqTCysfifHb3SQtqWSwP5QUkXz+7QFFzpgQQxTQJ/OHeq5jCQe34dNB/Syn5D0yh/pqgEMlQqU3V9eKydOdbbkPfLMvyKeY/+hqwDSbnZlLiT1A8CUXV+lD40Ecdul+QMoDUaCy7Vf9kWBGYdV9/TOEm7pNkQ2GkiLc1y5NuL1kj5ielTQvSfMe2GymyjE7ReryZr+w68qq8GVMfCJtQSjp9VrIzsAaTchcdkWhNKDYXSmmmJuVAYNaBe8M2k5S8V0j0Lri2Tq86Wvw4E7o9EQZ83ss3hn+sUjNcwaQsYquzcxWizN5sya7YfXB778XSoFpCJOfiud9HPK1t+cR/V8GfJcaJXKo8xVoMQj2YnZz/BCaPYGj6Ruam3cvGT0duQi/CaDr+TMSB9rg2KUSJxxC+AGKZ3DtIXiU+f2I3m4l+n7cBMcVv4l8ixZfHL6gik+KEgPqje+ltqUBlak+kMC6EKisJRLGtOm3KctA0F5ORraUZDwCzOptralC8KiyvUA1HeQsCSMgKUIMNqd32x3pij1u2+SxAVInI2He7JdlC+fIXx08jMjwNu7UQeQTkkjGVFS7zPOvBvlGaKbSok7tlp8yzDKjRgQhP+ax8fI/TeplLpkHKyhuxXvF03njZ4XPLrS5xHq2xLltGSCc/X4zJ3V6QEAqaEk7yluIlk0bRgi/RuL/dsWwmhixzEIvvYohctELmHbvISeRLGKBuVUgVEI4OakJNXPIKtD8pH6NvE+JrdyDVdT57VBDaTZhKytUCsv1906HCkkWXNTGQ5miJfnuwh1f/DfBkaOB1Wlryl5flxrhM2fN24dLXImWd1+OlcGeh2+zbeeU/K0VaPpwjYD7VZFR0aVg+muoGw5gL5Iqo3XsY+4+GMh/5Whq73bmnV3pcDrxQFkhsqcICJm4MUnIZ7TbmRFE7VtWrlu+zf9pmN6MVSDxKtypHYsuZ4bD3XFjH7EqjLGP1vcmun8CJYU29mHV1fgDTixuFq4s4WRtQOGiR0LfS6Pu1iijdpH7RJ/1TffsH0fSxt7nUv7x0Nz7k4NNYfPoKSF+CALul/XGgNwIl2JQS3elfyaHHZ3AHPv6yr12CoDaATwhmAyOzUG5N4T5OtI9aXec+tjnBU+PWoQffhv9ZLCLrs4dBqLi1+UpLg1vd0n8hhfn/Tl3XPYsWYE3TY6v9cYL+nGpW5z86FAoVrK5Em584cZ6e1nLq5LkHOQGfMnUjfcrw94txCH+cin6K/DhqmEQApJBSqGsmtxtaJDSwh2OgybUFM4SrYIVAwfRNHn0iqLWT60AYtKfk8DEc0U8khr0uBbXpfIdBIHCSs8S6514xDbRLbpRe1+o7zBfFlFGOxNbZHchNuzeRgdV3dzZzeYwrFzLUhyseJALB+1Ws+HRNQpuBKguJtMxTnQdooiZBNj0tiu82+5VVI1VuVbBxGBRe982TJSESVz4MsFhg31pE8TWC5YvrzcDXLylr9aobJQfn5jT2j9EtZPdwnvzAqadoVwInKkx+dJJfX+Ybu0k/mJdkfcgYzwm3f26q/1goLVb1ZAk+DnhbCyAduescR7tTbi4gmJnB3OnJ3HnzNvxUdvl88DmDJ4pjFJlJPekyVDiFp7WBB6HhrD3Bl3eau2cIsncD7NYqPYV83a12LreZikEaNAe+9dnfC41iqVeQcdl4T3axMk6qzSyCaJ8TvQxzPIR12rF4E1/DJzyHL0dbh5La6Azub8kKgJu9hjY27DpePy/Lfvff+AziOdy+fpOOckztSzDGK70fM7mdkPJiqTf+m8+wNNSiBmmj4IHMv8oWeNSSjnjM5bM3pedzonzjkeD1JxgjXMviwYjANjdd//1/2Ghb7i+0k//TyhQWdJMPsQCn3Oy5ODZTXHITOBxlhRR8I+aaiJGW+iYV75VZcRLiLf0I2NJDfbp+ArPUWm1nU76SEbLFcsBuN7+eNfobz/vuZPJiKfJv8GGNccUQ2ipTGO0XtYxZXO3CeKZWLITgCPig27iAgglB91D3txbNzv2mW/YJG/PfrzTgeYg6oOnSa4UHJ/90QeHJ0m4kUch4CI1tiBrSOMkHcT0yKkrSlMOOF//ZLhNz0pp+yKaxoR5vRiSMmvJDy9RwflzT0s1Et/kVbOMEBRyzNPzdofKsdZ+r/bONEPNXhYh0sWYqIxFBPFjS1oBw7Kflb8/cWII1HMGnJVsoAn+w6UB/r3odjXl8I8ypi4K6IYvlaXM6/5E6016aAmT6CJtKkSKcvy2jTvyWAoRa06htjE9GpnRS9Mof/qXTdUWa60YnZrR5O2IW9qswrU355434DPC7wB5jfPjtdChCTqe315ztcqeR91QUpEVoaNHjY/Jr8bstLukAbWuLeFQIXouFvpXzFP1RZ3v3JJsKo91fHWBYttxaveDHBKWNHzz8lGD3mz8FqPKcRQhPizpdA9YoOBn4R/J6Hbz278/7+BjZA7B96zuM+mI2IrekMxkTfWToMeSJR2oqRTQvnj//2Xw++GCpe4hFYXD/eU15YOprTRS/3i+EviYVMyGC2e7n65B+1BLvR4dly1UhstfKUl2vDQxgsI3CqYb8VNhUCfoBC+suCZF3PUO5gt1D+wi7nvv8BkCw4g2P5pZbhk81wZpXiqDc3AuFFYsmA7Q+Ge/ak6HKuitNTGJTbRbxkWzAZInglm0b1iNkTCsJqjGq8rWS9bq0DayXKO0im79OWMkcP8k/6uIPO4FXLX8dQ8bGGEgFsd8z9GfCa6SB1qeCfkpUamXWx+OO6mvuGgSj52v2kRfUqZzJh12RRPycYXyes+e0ufZrVN7Mfz9dYON6PpDDw54Z6BDbuRG2qMEfO/ApDMIsBqNA5mbgqA82k6etGIG3AxrpgeNqVjD/ZhR6cfYT121fiWAdb6C1y10MxEvhAaj/MN96fIHQ0UuStDwLaXnxs84iPKHEKhEohQzKwdn23k2GvVesHk1RsFYn3o+hvw+I1rDO4nLOaINAJyJj+ID516eDlqtul9f14RaLZ6AWMwwlJUYDgwI9HFhJPydhXxpNrsxn5ndJrHt6DRP6m77Jo22cVTlgSeNhRIsglXcyeYRLl1Ze5sJXiCH7OMCISjjcxt17SlNP7w2EMo0OdveAgYePF1xbmnaboN+BKQwtVYVlfQOEAqkV2Jvfz2AxuuZTCM8nKIUbu62ywmFJ0OV7EBunTlHXyeQQkb5ddcI7WBMhwJuY21evV6i0GkBIkfWMGAGkuQb267yUZ+HA7/gwXye7p1AokPQcuWCKZBXEqvL4i7/KK1POjWD4ZrZC8hQ+4u0xZGgLuCV5J8qTNNUzFtbuoUNmmoFabRmVjMz7xZDBUzbjSTQnI2UR2mEWOKAGlCIAgomAFsWFCeJMRcH1S88dN0hvCuD3Sr7rbXhw/ArJpTz/4Ibr+GyY9WQOC2zmPYv0xg9Yz5e98LBXq/oNbOXws9PZpRDjidJNKmp5R0gYANjL5m2p8NZybceEMDepDa9FHJwCXUCOd9zhW6m1VAvDfG5tQOQpL/DSYbd5g3kKnchXDHWS+yhllAlImW9TQNIZ5nw4WySo+fFIyBQQpgJMar3VUM4EJL5JWfdFdKVIyr71H8SFOdtv/yK4R5RepSij3vM7StwyT6mVchPAl8dgvy+Wpf4cuFskwPGKP/67HUoZGnBeKY/k+tTxl/e1cdNeZBZQxPh0xODr0igVrdipjahxoY3Zcu/2erEhB1fXqAJ4xg1WpAX1cCMfwunyDB0MRHWR6QqhSOtVrhu1VUkEa43ZlV1olDT4M4Ue7xifr8XD4n6l4Hms0xdpN88CT4TBlognL8UK0OK3YRrxqUy6/zJJaG9Z0TkfeHjhMkIo+ZYr0LvKtq+obF4ZwQ5Ik3Wmt/rCB+V2L0i2bUcthxxffce9w+zJ2Q59fHY+c2yKtE1sfHR8tPycH3RlDw6g5yJKX3trFbM1YqyvILDU52AEJOKeuMVSwzn9BREdH8s3Gfa+WKz75u9k/xVl4AZozTj6lY/PdTN3G6cbMCv6/ShTKCGc2XwFZEq7kGMfO/UhIvNzSebr90muO4ZVSs0bzitG0b8DFyPeDjwPUnAte+N2QVP8ey+MbeY9H0Lh78x4rP9gL9dF1oYOcZSQrQPITO/s+Jtu5rGRbHzYo0c6GAR+wXAtgnoD5tv4A2oSygAvEDQzVChq+2mtGJFk6WllNnViwHzfFFrgwRdhHly5AoBRxawqSntOLCr4knqvxWevqBwIu1C19rjQedr3MkCuXLh3WXmoejG16t2NTxmevmatkYmkc/qgBk/MiiXzkGyCWPBk1EWFmq/TDt4wEyzsEV61qjFsZqXVMjvkGkXWYzSLceXbLQFKmk37uzhBIqgCk5BtTtKotwaIEwpFzDob5rQE+bBgLuydgCFAazdRNZOphWq0cHUZja8GuzF9erAGYJzDfr/6A0wvY390DizPBzLU5RgSkUG1y9x7srg0eD+/NRPy2QKW4MRI88dl9RVvcoAojiXT2C0c0Me21h8QGwPbWuIPh49B1Aa7L3XnO4UteBQlE56zLJ71bEDuwBdIXTiACVrHmNIZtoqJhx+EWwPwu6/L6VJaV9ZHRH86+Op0PekfnjlVP7u7Lwb65hzIGl+MqSD56WS3mFsbeIzc8qUKCj5AVxfsvjlR6DrVTALYvZBg3m3NexmhaoDaFkMcaT9jMc/ABLEUA3zfWNhHfX2rwvIagla5xl1L7r+8ZmiTy2QeTcW9UZ/DEysUSQzIVULX5JCmUHeKcbclVjKACuPUWwjMwZ50ovqcgyS3cPNPIf7uSmfTxoNPP+EteYGMLVv2aDzihUmYQ4ZlCU5lBBVGr6j58CFJ+Jp0h3KdPbzg+Ea9sDT+XHVqTWaR23pXj0JyMYYVKkfHtPJvrOt1pRuXeGnEzMhNyVxtUzS+77eYWChRI/Z1jzhaY+u/E0r53Dr0aKq5GtcxDCdPqkLPcKY/tWKJ9vuorvzKdCx158J7ZNwBZ0s6jtalcr1nqicCw58q7z6moV11D2GGBhAvEw+CN3vfAKE1LdzBAI1Pxzyz3PXG/rfjCtPUVi/x8FKwQ77NaZobb+YpJmjAgzoPgF5eTdyEZjv1QRoK292vVzYdtdHNn80amTLhffyparN7o3uz65pU+Xu7KzvL5ZKyfZ5iXEqnTdhkQDTjCD7A7VzhKhdeqG9Ws9cKQqEl/4Cn4nVs4dqlHH02ANqUnpflYtZG2Up9wOQJBWC6DfTghc4eroNPeQghD8Zw2ULocDCR+3q5M4zkML3FsdQ76AT6CYOUOM7c64aKNFmwS+3VU8BJlgtkEG0dMwizIVauDYUZZn1dCXgSAgid3XxiWg8i4Kzo+VZ7caPwSfEpwq6GEjTVX8clMuER8lgJscSVSoiG6TAA4S3Vlg9Iv551oNGOFmIIi2QCNlaeF3t/6R9Sfbuz0lsRcTeUy07jlgeWHHibQTDXI5kjd8Px4GOUdEVm03AxyHV5xpS87cbniFkV/4XxV19+H/L0qkSyLkxa2yA145V79CdHvhdTzF+ft62gvQIM5THhEM5hWYco3rLF6qSCCcDShePGtGZSiZAKzRLoaBIucwXHGFD+UsXVw9T8s/Mf4axW7aavjbgcObET5dcX7+Fpfl8wVbQyzW0k7Jufk7Ifz+aIMhGxLcQWPk8gEnU6LlMK69AnEwqSR2LedS4oz/8Gr8BpO+FN1QR3HFkO4alg3P4ZcClcENCzWLlPtmBHqoN8nvWuT615baz7vR5mg1t390HqyUbdU+s9mOzl7aepiu0luLtlRgoSqYQyf4b4UJu7PsjKI3Tvw1NXj07emVHDZSOfiLsJnoOh3kRZGAdtHDfjReq3fzOaYnWIjNXnXh+17GaJock6kKqAU5jC2cdet7aanqFSS96FReXrdMhgOsFqXB9xKZG75pVc2X5yqcUqBnFrbtlz7mtn6qQfK12HA4bTWO+bulrfyVNu95B8Fp1LsDCOs+Aj85slHQD45rLCCg88Ag8HGwx6oyQvZRfOpiIWM05g2JdMhJnnUADr1CYR0bXHRA5aRQZ0pMnzGe4UrRfkyZrOWVxjUQtNv7SujdfdPknw579eqJ0+YKcFR3HACLND44XnfKPfWvTyycgpLDgwN9EdMAvdJJ9uk0OUgvouNQySUILgVm/6FPubDxzUEW6mkcV0sDJp3sFccJtbb0ItZ6nJWkJWwVe1uTD5AKMfgG1L+roKv80SItnAL7/yhGltsTGOFbIJWqtAUsPmS2EUjxx8Z6/tVg1WXSHdmHrA1rRxwq4AK4nd3GWRH+QhHjoyciuoutiplZPAFv0miTUnP4qiGr5ogNtEUe3D8sND9sXZlVTm6VGAG1kz3fG0YnDpyESUeHqoDM9daGARQOXVvDRYGn40IZ1TPpHYw8nQHr9n/R3IcNTLYeZ8ax5UjRF80TpoPi6hK9a0S1t4wF2uYJ/ksNQHIijjfq2Owpd3j0nz2xigITfqKWN1KOa60uSQqzzLXP4HSeyBskr1nMysLWH4PeOHWHrxq8V90z9xmP2CQ4s8krQKuXoneGQjI7Bju74kkeEJSDp1rKbrchab2/TOewcPXJE6L3LCPWBlgA83xrWGMWQIOZqCn/k1psqyxmvLsO1SnS/4wLG4RHWzX14DJkSrye3ay+0QB8yGkijDqtyCERI4CV3ldYjXEbTX4DLEwTQsyjRi5KNuEbdFjkOLdfLVGHNOrT7ie0514XymabODyCXZPd8rAWv8Soj3842mFGgwa0Fg1BNuB/VCSIKL3DkfxQKyHKwfm5uFlK6tGxSsgs/0t47uNZhJWHYRwk9K6/OtT730zubipUSfAax/YlTyuthy5gyRJ0Uc53EpbSDOZkK40hrHfRmO3c1/1Ivm1ycqibKqvm5L57JCVevlUKXNer6wOEPk9zu76xItA4CEAMWVvp7VYkqeYxg7wlp7pyS7mOwgUYmy60FnNzpNViInlu1BquK9vxiWCs8gzTTkA6VM31YcE9K4gi+bv4/LiRRnfOGXUlHTQOyElFg1DjhDdnr+fz2SFN2gSrOWr1Cw4xzuU9pxNyPz0T9BwoKkjwk/DbidzjKn+Bka1jbC4F6y8RxLHFl2ir4GaPMyr9pbeB9jDLvZTHrmFqR0LPgEzocgu+usprrm8teAwPtrHpcoaoNH0Vt6tywGWqjJ9An8MymQo66Z12Ka/MtnPyigYOYglPV4R3l2xp9qrncBpOLkOp4mARo+aDECZhUZBQY7nhqUX2XQO4fYuHAVIIF2dfFqWX4BiAnyqQzxE8Q1ffPpW1Na0Lh0t9MjhuZKVV8mXhuDVHzjBLsQHjhGv5E5pmGnUWwQJ5ZK+KL95EgVnu3K4U/zAAwA4RbZgp7xQtXDsNhozY/WItq/sXs70yxUxWj3Dm+B6+keK9HeUmoUWVpJcEKyk5JNlBKJSZaCvx+ok/mYy5RF8y9skyfCOVm+FMH85rxgfcu/kfPqHnsDcL/9NBUFo4ooBFEgolQZTDjpRbDwmFA7WGd8ZlzmlZfln/j8PEb0wL9yPmaTONvUqdOTDDRP1h/f4IHj8iM9nguGXUfT2juiBhhKzBI/mjA9Vadq/cyVBpIH77KdNkM9nvHBrdjk2rVHc+ivs4mB2UHo52J4rId1oB6JrOyTA7B758RFNmiWEoR81p59AoeiQySflkR1FEnDcoGzamfGKCi3k5p0rBCg/wurAJ9qZ9vnK79gT3tqqjnofYEfwIxTTOcdTo7blMvseW5pa85bxgJER95sYNj5QBGgK64q8se4+SuWoPInALhYQdCOZ3Qs0Ny+ubXJQL1JpQ650rInk1iT6/xRSkFkN4U7S37BLTCp5R17pqxPDJxK6TUPpt8ibd25cigRrXR7b8HhrPjgcq5s9DwA9Gs/lJc4XA7t0KG5cR1yaPZtftBdmWhvREdiAafeldMLlkx2bsICwOmT2XMt0koSm6cYuJIHxnGT3qyGLUzyjwLMQ1rPccWcAPRBRRpUgGGHgm0fiyGItCX/ZpOvycyjnHJxyrVzqLXxtx/hXzJjCIOvNGcgVZOMB2ssMZFxslci+9D0I7ZfqkGoIlH0OeL8X719tCMkXxPOUXq41Mn7FKfaeu7xWxumIBM4qCEGcRjZkKrkNAoXg2ntkXLf1mtj2v+J9vpO6FrH298kIScO/Lk8Si2fpHU/rYiRB79uX4/7FGCPU8tDuUwzC/MxUxlkRtVNwOMnT4CAzfgffEvPPzomt5ZksiSVeF/fNZSDsJhA5+CsWbdvHWnp0SHTYN5ylusvNz35PB+VUEwG641Cc2NkYLmqfhdrNANM5eAwmKZYzkwPKAuia8k10i+5MnUZuw6Mb3wsVobwuRQFRDU6ORFAjwBOgFdHd0HwBwauq4I63BCP73BsVPlqvnnmNtVc9u92NHifhfYNMFuVFhLPZHlQFX315dNVwDJtbDRykDWcMjY2XE72s2IOZSe0XOBpaXF+WRCtV8KV3lGKHpfMxOLdM1hZf2/e9TCpf9fmlQUv1LfQNQHxYjmwJpP1Cbl5U2csHTuZZmd35EcRsZYe8VvvuLimfywkTwD4mr3I6wCZHcl8lRM1hd4Kk/iBGi42Z2teg97z5TU2O7JyKyn+p5uLQ8LSR5yAP8gsFAfYoal0slaGR8lFUaSpZnrWoSbeJ33xeHQ2hnbOSWCHvoyCZEgU1Mles8fMnyuYIN/6SoC10eK2PfFLt8WqgitCuyVDHCjy3IUDq+E4Tcom3bXpCkdgtHB7pv0vAZRxH+UIPb/sTzTEfWHV4xrcP2WSV8FCPayOw5hQfwaL3wMHF2xH4iJwbHWo8Epm7irnIvcCpJf5QWf3yqlePOdU2p2AjDK8iXaTqVBmGg6GUaIjxoZ1XeUFgNBJZlCCLf/T8TjBqdHy3gVQrIz7MJW4TcBCyrdVpv/0Hx/AdaIJNrq/U2yY7v9y2x1ksIsqA9lUfHQgwLf3nputtOAKpIv8dQmT+74CiSs7fT765uvwbJDptitAId89mdJJnfy4Gds2I0Rjvxh0sjLbG/nIr657YlSZP53dNVaTnwPLSKd4CGQLEPBgD+RTnl6O+NyQ+9ZL52vuOOMOf4uQPRfLjKDN90Dzq+K/861xXxyWeH1fuVPmW6CX2vWFv1sgVkIIVm5zrI3Nyk8tFQEDNqo30wX/EE5Eqcksha0w1gQ40m//apVT9tRsmi9pDreCeLL+i6NLz9sooKIj2wtx6jaM6b0olMaV2jgd8qrKRGT/YeikPcjvbxIaYLHxScl+PIz1JNmPZgva5q3+wj6e4ZUv0d+w3mLRupv2bhB+rneALayMWiOxZmYsKW4zXPBK1tO6vvy7gYx9Kt3H5XeHAN/Y7VRYIaOqy0E0olqF6lBBgG5XSLmkEg+rJsFl7GzT0+qmpwWzAg+OfWQHrrF5588yjzJz1sglGoomSLc7YGSk/jrdgU6Iw3s6Snf3R02hjxQg9JAooIa/aAf7Z1sawY2Jq++yCQm3cjr8FOfDu2paPqIPxcai8OXO6+GX/Xrn3hKiuWS7f5Hs2ZLynwUg4ICd77SsB7Ju5z5KZSPhyNXSRz5vkY91TTSJ0/Lz7daiGusLHnB2WFOPwZOet3Ow+uExRXkNT6YY5u42qHaVsrtf0DJpEyNtXuw1ZLHggWulmC7uNllRT2uJoE4UFJnbe7OUijvVFOTtp3CIRNrFcPPu6tImekOBMSBKqH7uUnfUCAndG+EyVZa2JlJaT+v+fc1bU4Jdkg/6zIQu2NY7qAna/OyJzq36sc+O+02o1/lnpez9sHvwk1bHXRc1p2RxCm9fcz3gkkq6kOp2YTk3YAgIACIi+hyg1fckjXk52RUNenaQ++J39QlbdBUIqgMR8W80sMVxkuy/wJNXUMmX78q7ZKHk3YtU9px2X4kbMmWQ1n12C6X1uN1q64rDOnHyAfU3zg9/UGrDLa0NW16yhjI+GfUVzMQvwduVBF+q8EKOXNygebfP8wD2XZ7Zmz92PDT6mLCn7/9d8TVQqyLjqxily/mghE8SEcXVZuHJy0l2/4ewFL9jBqsDiQA++Xw3ak8DPXKRGaPspUpEA7GWvWEz9iiXksJRY18WDnq7Cm9Z8QgckFRCjRPD4AMNcoeF2i5tcqhTU7kM4v5aFN2IGlxSe8AyinmJH8g/7m/jyBcWQ4sftTg3p+D3ih9dugNRSnt78ZHN8dDuZBU9Al9a6T0VtPXID4alNNiX4tsMHoXIf6xOnUPvSfmSvPNGNgtfG38iM15r3ie8Hy9hOaID8eq9kH18Rk6Gb9p4c4BTmRfVNNa2tOh7AOhNxhagKy3l3cMrwotgG9Ymbdh8p/icZu1luP8cVe+S/aNmvXQyUYsSKKi+vmmqPUGZa/kLgtNsC0aaQBTGuI07VwPwY3USjOqAc0UMyVAhHA/L9u3gUgZOkMc3OQRgrsaMamy2I8q2cIGjo5heGS28uTrzyinCD1TsAf+Dzrfj1TrzMTQt4lMiqNfbfIMduChlVD2bdryJJcQriWKAJScsNbIWIHKjjleoIRw83gH2b/wdHrLyw2SBKpQ5rxSJKSj3aiHOdUNM7XoaIvpXa2UigMNfV0TyqXAk45PARL8LMOq0DClXpVmgxWvhxSxxzDFi/xwPGF6XsYVxQav9gpdoLfI/Uzl/BAdWNpbrkqEghjz16ioLIWfxohnwM7p5x4tyj69DU6BKHYcZ1i/ilJrCScZ3DH/v0If8maZCA3iLBvu+G5yO9afaGhu9ugNaQAD7Q9+iwRRR5W3WEwGYSQdCPv/NekaXtNePKvpsnaL+R0bP67ig0u39ttoyv8xN+6ETdSa1KsuBYnemX/EN2kZ2Xyko9g1IVdEUyGdd2Hu60fq2y53IqdAEqITRPHOqTirP9/juUX2VEptnO+pOFjQk+eHjvmCUdeHpO+cOzTazqSM5RIIaup9xJJrqSBlBtP6XrdqYFCLNWwS5h1OMdPHuWTMgt00yM4XAvFKHhOrnywNiicVWGONT8j2rrv90+13f2HzNB9f1m3sl7B17F1bIkgL7LOPit2waaW+xHk4hsP7f2EO43VMAWMGQ5cAOqlpaMMWanjzuR7+Ur8FVF5zJireon6c9ZrY83Xl9RQyZwLkCt+rj+6OZv+m5sM0Uaq2pjXfjufmtNKW0CtPX8WuE0NpOKw76tOMT7emrYU54SzixIreDuj/YZ+pFZXhJhxkvU65t+RB+FIeq5Y6D8Q5HmFGjwSSwZHyugunkpRqJ1VtXSsGABj7+pugFmaNnCJxjUUj76gBWI/i/m6IYOWLpL9Cp0cISCTkVPMdOeRy3kn1sCfm3a2ratnGpzs8oLjWbz26f+9dE/ftwQpZgP8fNYtuacbPuNnWFXNI8YynFVvKfKrQyt9XCo2Mgy4J/B7rH2fVC8M5pmm6S75Y5TFx0i28Tt2+hUlIHKdcD1Q3MQYjqRNuOz8DP78WQj+L4hM2MAT44WJvbRgWgSQO7tIjWEZb9nsazZotVWeplDFfiIY8uGwBTWO6U/D5HEMtNuw63rpIMMBz4jJj97eWCQSHYHbrqzoYoAAv9DsOYERcv37HHG8GzNazSPfqZw7njP0hhQTTB2w2nlwrAUFBvbKDGqSBpbKy5c0rJtry3i8fPRm5MU/9KmvaUJWzk3V0++wMZTO0Jl8JTy58LxNlVGM00+Gxt9BIyzZJn5JP4RzLEv5I11QWbz3kbb5JUi7rHSyco1JN1qPI2g3mOB0fAjb4qJl+bIio0MpuoRBuncDExwVzLxlGWKnRCIiCJACdHyLaj0cWtZvNvTIR9ycA2f3KWa5dPwOAl0nt01nUifnXIVGjI92tVIAB9tRCFfHNnL/XtLF66ck1SHWL7mFwm2ThON/EJggodYQwAavNoB09YzKqnXnnAG9bfS0oFlpmkwXLBNq1BMCwFBhmJLeHO6qOmNdzVXYJCbAxY3s4iAQPqitBsjVTXz0zjEJNnn46Hd2wEiDeoZzf3zgnZE4vAxHcizjr1II13uTksxfwMUJY7P8EjtfWeoQiblmImNx0aSuvRcZIh6lWU0dM0JCm0kV0CHYvrS6w/wdR29xBk8qZJAtmlNZztrI57U3XKdawdmNf+sN8L7PyUpsp6RZ7qDZj/NpSmBqzbrGFu4NE8FjiCeuAOuEqHcitY9Y22o1+oT4phDS0fZeHAjw00AzYJUvVbJ+bRGNRdOB7IxztDmZKsulQ0FwuNDttwXId7YWkpYx7MsA3OltnawV02mdXIUQenfYTr1cToq+Q99fo8ZeRPD3GGE7p8rzZs5J/Zz54LYu0OLYYkzuEdOjl66aUz3g5Hh0R7yoEtPkEtXQ320a2o2ZWXez+DL8+PiZi9k29dFnxP+khi2IoESSy2jPoPw0rzfynBFCzu1Kx2t/VJsoF+gZLCx8OHBWE6tXl2RHGyIceE1TLneTPlWa4O/1XDF3VrC6i8RyaWBEeJRiZLhxfdf0GhdVHI4sLhSRE7wKOf8MQk4X424McHTCQAVYlOUEwgKfTXa8rhw1dncfKNrCyVqIVCbvjF9rYpqM5Jd49v4+Q95slAo/lqoG9woM6b9zlFFBPEACGCZqHQouG0aO/PIZ0hMtdcPCTvw7iq+2yud0GgewkQDPtUV6I8BgOygYegImltLYtxqJdrrXSHhdHCClfuQppUQUXROz+00ClHxXQZv8vdpaDVTphm4oeXmvV62HcKVQjEGrvATG5fY6/Z1O2nkteoO1G1hF6YQdkIEuxE8itQp17eK0ZXDHiFy3umq/je8R86ImVgHhVcwSpQJug3sL1FRb+RQUUzA2j1fXhdJAUHnXrbNsD9ayY0mf0geTxxarv8ULJafzgeppF70McH2D7pxwAJYCqOu6QBz4My0PXTbGcTGD4OsG9b8B880gZq8ERKyo5qqy3wakBAXisiXU+x9j6AFFneYeqvCRTtciZ0DaPevf29nB5sWeC1wnu7ZgnEvF0RRMjTtfWVP/2C25hwFoM4x4aRC6jnkNrjQXoz1LV3/SLPvrT1UKKZmMeQkxRAG+uNrnN3Rk+ib7Khy9WXwPtFHxFQqQr9xuFTi4vFpHNUUTcOdO4jBlZbSVGsI6KBrDDaVdXR73vOEzL4sp43PTZqM+H8yTpINcO8/Ubc6D2//EqxnPCw6A9Ma8xi36TETd2bt95zeKfR2DybvrpON1nqUm/l9qSQL8zY1wOnGuGySKlXXsjNdrTjkXCnWwkLmCuhkxGUhiQEVHN/7nfcQ14+J1vF1/Jwusb8EtpJ+L43ptBfXandik0CNX+Fd8vQmJfM7SPzNy5qPPDf2YltVLg4SyJ6a6Ls3T8rslgApkHJR9zBBlJHFqHrigQMiyXtpo41XfQ69SgGtUSslen3nV7I2exnmfM0kmCJTs5U6/P10o5vzVV4Rp1T0GR37x7DlppXf2AlD6DYPKBL1tlrpEjLg/BGXrGDvROemw2FJzmZgBAARWrekaIbvtTcaGKBeVF9dyVAmhMgQ81ek19vnaOecu6YRWSa5gniiKYuGS88ZgCVm2X6ixbHBpZAcc1KFwzlOTm3msv4NrOAqCnCAEDBDB4Frw1c+FVfbVVJESeyI8Uaq2zNgCrcDmG42WASMmKKfSwxs6WzyB+jgBRAsLLb55zpl6ZTIfBebTFLKOfaFw+RnDQBWYI/M9Mrsu2/lt+aSELjGwnCXKz0UXOpHcO2oFF0E7kzsptlEaeMvySNdvb5U6RY1N7VF24kBDMUIKHvJAwoo6LQVSAk+c8ULpuUB/SysaJwrKvruxMZK5Rqdy23Zu0s0xmvQUF6BR4CP7EQTKmAiKu5EMA/LoCr346sloAg378H+m0VPs55ng9MPfnVHS0eJSFTUE5wCfFjJ5pvyQcURMs+6ujd6GH0cnbBO/V/7pcSZiSKaa+rj+e2HM6TpIkd5aBwBDBgfPDmozuHNsOTv2Uxr5Mi9XsnZmCQJqTy/cgYJ1Vm5/LOwPCh34eYGuXOQwHuOyFD6uYKi9UZOECDNSR3m3lkk15mARGvUG5td3+tjDE4DyxUTYMP35HdH/OUPY/e4rI236c9fOI5NH+R5doDvoqMVJMfRShTfnMDccn+Y/1mE8P96S+wU3oYWsToO3xq6urZlGFMKglCFVCW+Wii1mroBnomUfTEuudKGFPhHh+VYfUQhWTHrVRrZ3aQLZIO/eaCs3sy8NAPXYmzU4wUKrrPZygfU5YifPsP2k/VLcByMoWOotMwdEukqIHntrRFrtxjldjWDr4TuPBK3/FGEVAIQ+MGZvpTZ9FGf3P5cxeYsyZSm0rEajfN987Q8E4rdt7GhK2vZUQXaDm9WXAtllHbUlnsSGa5QZsQh3ewD38X/l/4+V6n8BKkW3s+tztEsdR9l8TVpUs8BUGHKEMHniqECxCo32nAfdouKr2a1AGOao8SDc3x/piI2I5xN/ak2vJYuHTRFWWC8eq3Z5KrNHf0iud9YjUpkCNxv46NsE8tUvs78cFkRIaDSSWMYuCNV0TTCZBJHEP9If/cDB+zw57E2augcCt77GctcrSQ3noJ48OEUYAGrTxYEoJSAPzjsYTy20vidQ+AwLhBnmQfezzO4zjbo6LDkMi9S6urDc33u4m8zy34wJ/iuLxL8Ix0zsMvIz9MmxESKbavutr4gwtm2pfHlsuQ/WFrpG4Cka4rPJRWUBYSZpd86aNbXh4Wnquvy4uEjCjQzNdXjiAxEnlv7AoeJvYlqzQ4TTRWHmozHGzASwgdyLl0oY+JwyBLy4aWZtEv1DUQGSZFz2zVFPado7IwZYusQB77xQG2qCU/ufz6uX0hYcvdLClU7HhEef12kELzEEpxqNm/ESGqCaCjvTpFWTU9owMxGq+EvnWB4PItO7RnX1/tWj6f/TEeGdbnm6f7q1zy7RuKdw7O9IcMx/i7L2eH8s1J3ZcEXqcSLB4p3Ddtn3hbfrslx1UbwjBqVMd/DfexiTKwXGPO1bQLUSOUvM0io2/bcWt0vrFZqQzUjqlXjZFYEPsugef8q25QfqAz61nWCALEzKry10n7z3kTCmfK3QMo8kXkIKoXKgoY2NVigbA0lzBMVYlzm4bEQPB6dNeebRrr0zzl8t3FCFZtiRYmsbsqgKZAE7cBXwB7IzxQvjkYZ6cQQHvT5AEwzMD870QLLx422R9UVaz7M6v4wGDNJTEY7CHqcpoioSzB8uci841KQszdCLybEHk8bJFrAEUCdHcEJBPfv7bgL9/aZGoniF3YtZS60NOwZ+xW3zZKq0mFu08+immNeQLVnfnpVH72wg93//GV/W+3WEnMabFkBAbYJ1CHGqy2CQQ8j2M96+pfxRmjMvR1GevSlsMet4lSu7BVSeOH/RZ2pFZNWhwj/QEKIR6GY51JiNn3ZPXvCI7NW/HjOUWbBSzRGTVuamew2efPAopJ1PgPgWYWrcSz074hi+fr2iH8J38SScWdUc4CEZp4cufqwHgm6xL6bzEB8CAdD2E7b/MReagGKioKdW8zf9qhnCd1KsJ9jx/fsMUBFjPsk99MQvXIApwogp3MeDydAlvBGEq8FTsYeUlw5AKN5dkJOZoTJWUWleCqfxnkNczf4I7dg/cwNz0ZsgsuXzFsPl6QGqXtjsyHGxHatbtbCAw0pe+IFPaL23S9yOgAuutMjTYvd1t4sVTgKy/COX2n8lst3gNfxfJ8TA9Rcf9CR40hzd/NQoIPDCLU/fNiQ7NptDflTxh/ElrJuZs1XPV+MU0ecGh3ksFhzi+oP3L8iJ213+/VBHXd1OhzJPRWN5dWVkIWRxXccd+rX9f1gv1ZbwhVIqcrSm5lSrsqZcRYvIbzlyGKggyE3ZcmqbJLom2gNOBOVFOcRH7JEkLiJ8dqdTRxAdVNPMJHZm31SN3N5Y6bXa0TVphY5hZX5d+TQHtHap0iO/v1Cgq2HPq5F1TRLzVmDZ42BXAOYPiQT24M1ljdizVTZl6t9p/dIVbY5B7OBaSvA5195KoOO8P6WFUbsvITf02uDPdjIx1VZiWOOIBvCjSbs/BYGAhJTPGr6z2CPzJq8DbCtcOw8fUfTDIpVvKuMMCIpaHdt3jFljv0keKxTAjB1+MeZ1lDBB21E57lKHrEbJHO8RR65n+k31IeuW4U+OB2Ml8Pyk173SfQN/GzPZEwe8/1dS0zmlbfbVX9wdlux3TdvUKMzfbDomfLk6B2qQFJaFh3QwenrGV9jjjHJt/iRSWeBhgD/p5VS7j9jisPMXdXYKb/jHt4EMYGDnB0cw9nJZ01hqsfvnkCOIxzlnWc7H+5xbq71Kb4hvjgj2CkZjeyOmHLL/yJKylM3uGLAJSAMuabzh79VUsBYcUzQzRZ7e48LlABFFiSdCB78lkCenXTjObOVGrHMYklU42utgL9fXST5STAEuKh150GkE7rzDRv5MTnwWlH1zucJWaZkrCUA0dENTNSr5JKtYF2ns+SZ50+mg7nrU18V6wovsKmOdJnfgBKC2jdoSLBjgFrriD15JCHp0BjfIx3Dx7IzFrAjsBz7Feax9TIMkgqiTfvMzKlgMkpbnciEHv8Ktr31wRIYEUtPuE4jn+0X4JF/fXiBpUlKjqw92bm0Td0nQ0nZ4wi0dXjVbO5CvpPAZg/eR4FqvkNfLocFgYANIGLLrTSZc2VQ9cK3ETVu3DZG38c0q14r5dpSmK37Bl19JXTJD5Yfnegt6kbiTiNKyvMRysL9jZ072zz+bCxaYrnXfIGeRD+G1bbGi37oh5hIvpeqgBxi2JyCniGL9XBOBY4l8uZQO5kx1NnaqKg1bVTQURdHUNcII2ceL1MvUpR9jxnAImw77Zm/Qeg1V9p1uFyklXimOTtwF5ARxetV1trsialc7B8oe/B+wr0iYmh7G13FzQ5izx7qxhLHlf0Mm0k6Q8v8JUBgvmQrqMRqGoY1/VCJecW/U6kv3QlK9713PKgwXAsmtE/8gEtaM6offYSMiIXNtBVPZjbODVxF6clhV6igB4IVceoCdVGR2Bh6/X1qQMcQc8LeSzexV1Wtu7d9D2CgvI6xiA3ut2otuE73Ys6eq78gAPFzV21pePR9J4znvS7zdu1TBQkmQNhq9WXTUq/lR1DN9VrUKzMjyy8fbY5if3efQcacIWjSyb9yYSCOkEfRClwaa1hy353XrFqJgsjL0AxLeH+R+GDhBVHa49f1rn7ltgaL3bY6KE+PJ5qKM2nZfOXJGyCmxlEMqTMJBTf0OxqgExA0npYAxLT7UfuT1/Ij9UYODE7oXKNOccLeEQAUchPcuLewr58zWu6wSG/OjWNRiZ8WZrLx3s4hnHjeMqyZwfqalxHU48MRKCk1SAiYQUIW9VPJgkiMAsZHkCO/dT7Np8osJHNu902kjY2iTUXXjOUKArfu6DCwOLX9Qbh80Ch9Yo5CHbYOmp8T7LTiEGu6G8+YQPUQgCoX0KypmFcNL+zS118OXMML/inG4Gen2IJdIdt8topn6miDzRYKazQnbZYCnLfSc30P34BvdCxLzpDQUvOCNIHTw1NbrRR9ASCxlFrfX4h5VSMZJzx4bw1tBNPHrsjWrThFCZMYPf6hACuRYwWKrIWaSomhcS18cv64oL1u2Ts+RI2GvZPPbGLsh2EO0nXKPhgqVBnwDR2caHcgBcR7rKccqBXUBbsyUTQrGX4pTMg9So+X23gxMNw0fLY+PDU+iUnkiP371xaZ5xSD8ESpBqPmP5DF7Lux3iLXJ0wml2qPtzCvNGWcvL2wNYxhFnExcX0yy/hPNKYdt5BxJXy9E4C4EeHMRMtM4lKzjCYdeGUPfmWtc69PwdGCriITgsJZXzGuyBBGz0WAZd7/qaCZHVlbacQHEFVUmGZuov1fhJQVWBiA8mbmgJEnfa1QyFI7uzf//vgN6y01ObT04a7M18ZFMGUsFIRBOOBN7IgNivZOkv6yiX9l1trxpyg7x9aqgjcOchxptG20HWFeD9MotjKZmMft7bOTt6RUEtHkFrxreuamISm1I2V3wXhaZFt24f46p7Fh/qglT/28EGzSoJVn751iwb9Pd3uY2Y7xYZVw5iBx2aIWdmTSBgH1Xpy1mMZ8t3hoPpfznV0fv9Z3IhpMVQ1XEqwOvAINXZyonwRVjoftBAaDoyAlPy42u5BcXoN3wQmnGKJIfTRbw361qIIEu1s5vcaehVOQV48zkugr0Kr7zkr/UdTShCgEtcB8jvuhstMbLlhy84TtWc38qEY4kRcPrIvia6jJ0TKtu74IpHojhxC8n3y216gjg1jHHLSfNaSQBCgl70EaIHMs0jJe/Oxb/oIsfpN3GYJwRZGLqX+JNe8WC6rC7cr9BBldV+NDUBarnSs3G78pl+od1XbtX9ECEGIjtkDqyET4N1sxQLNnIFOHHgR0ulplsadlb8ON7aKrsmwf/Hv5pUUGcbIn+5R3r+Dl+ER8OzrAM8bk4INBIkybN4x0LBK4IPRcwcitwf6dsdB8rXoaAB061TScIW1D/VX5QoFxTX1OdjQQeGbiXY3KxlnrqKsDjCbafJS0u7YQBARn6/tJOorMDF46b+ZyAYG9oQ9GwYF2Pf+Vur9uNhdEkioS2hQlpqSz3TdLcVlnRTopEceLq7+ZUJ7V4wXfLtCjIaWJemuRilZF24RWqdYPWDUInQT1U9Y3XlwIornYrIfxWT3fgu0b1hpZc10IzHMMUiqi3YuKxFP5sHOYuT2QNwdqhd6lvQg1BxmxM9Tj619pbBHs1w9XG7p22pqRNc43NaZTBo0KteSmkDA2/BkuMFqKj4GDZV8/z33cppTfPvaeYSBC05va6K1mrfn5BC1losnJ/217TfOoQQkPJtKI6/9rmkY1xYPULGpNjckDWiHjxGwJbDAtDxoXh1xjX5qgLY4elF0gpi1moWS7L4WpgnN/UyHvsPPg5nlH5fcZO3CrpMnNJRSWuKTutQZ+ddA24biGQMWG3YqkMVSbxMe3d7JmFIqrIZybkwafXTAedb0Hq6ZxK2iAGwF0BfhiSQNrjiAyz8cTpIRHDie3LzJ9D9AcX2eQN/4pcoA02fbpfOor/faJ4aCOe0gwMs/J/l9MQGMsWf7B/2ZGCd+N40jMVoQUn1w3ZBnWS0EGEQZRaX4IS2f4xdqjvC1L5HBuSxhYU3C9A5l21GFQBTcY03gjX/Tas99l5qPuJzyylZhUuEatKjbX7aVL/ZcgFTuJpDtG69uwHq0s/JaVmdx09ph2V9xLTRcuXaxdEIcM7SmWndJysQz00anp/08dHkJb6N7IY2xT/R6FnRdRjyxisC7c85aEGHIKO6PaTqdo1HekvOjSnITEwPP9vCBqPCTU7hRzWKK2e2dlSAhcUbeTXM3QO4WCzINH+xdCZ2Nvu/O3tvY6l2AxUQkQfsyprVdLFyVAJPa3vneCQEWXpaD+nLGzbXwmdTP6470jFErL9ElROZppo/pk+LUA9TZwsGP7Nljhi9seg1K7aL6Kc+l1DbTu7dw28RNwdeeuq63AKXLxNRLW3yhzRDjmA6kDVDlCtkl4VVd9il8Yrc9llbMGFsNAXs9hHUxWI2O7m/yjX5VIXFRcjoaiuL8ivHke8RP0RKGTRbVButKKq3adRM0MparBkABtHsKQPaCpajIvTkn7RUYxMIFHs1FGKyq4+lk79pxo0J36O9VblY1yV2cr3csU8WoAljq0rdmJecuP2SD0bQ6qmBxJddeVkFSOMsZQcXAPQR0cEiBKjetXf9HKoj6d+FvuQhQVkQgbKK3J00PfTIUEP1nkMoEnSvngk9Y3j+VlTF5dLHiMHmH61L9P+Bu0+ZAXctqozuNI1Zzo87USj1XONpArkpsplKsM1tqa9Gc7+Rl9qRfYJ+3yOmipz+EvkNIpwlznQEXzucM0FbX15BniPGqHCUoxDmIhFULytTtOJ77bZ7kuPj/OmAQCNWf6mlyqq5Ii9EIj0tzHw+DGP0XipZ5xdWgTG6cGJdRSJWtrRms+tZObjuSC+erx4uOLmP4LctoPqOn8YJIpx/RSubSw6w2aP96AV1E7p0huGqsbtQJXLEMwVjNdydDvgzBOZPS8FvVyT/zGay2BuH0+pBRwcGnTkFuiS8qwUWXEMhVY8lckmWIMk+eUbjnhLs9QtS64AqqMRsOxc2We3Mb1hsBoHXqVGQQMo+TR0Tiz7T4iqxQDPJb/2AwmhWbFXB0WbWCG02xF0ubuk8wZIuFAmGxuJsq3Su9ED3CiWt6JBoOALLS59Nxgy2wXBLtXLBnLXkZ9omcIrJB0eJKua1/OMNmpsSxLR6I93TXkm0uXhpCBKPBoSVr4OaVkRFkWkSbZ9TKm64TQyaE52GbUrNnVMt0aAFil387eFb0j5T5AxEwJf4M86zmYF4SGRAd5JtZel3xylLQHmT1u4XYcjneEV3r9QyBdtfoy5J2KBrBGbj8a6giKcadLxvvEb1b/QrLlhlC7+Ft++bkPeGRA8YGHbG+EPothhlJT17Y1LUXxEBP0lp5KyRbDruYK8Def/3fwjj3GRRFJx0uEj0TLYT4rSnDxWTI8mghBioSJn3kjdl0+TdllhXCHBrlmj0yCDkZ/gerHnfx5XO9f+skYZx++WYcxhkm9sQgk84MajLDe5ifIEChl/O79ditEKGM1AFH17htpUGF2K4RYOvbqKDuOTsDqiZ1/VBB2lQtT3ChkSqyreHunzw1mEWgkoIltVSpoDDuKHIbgAbDT2OEfZO2ea7m9SghknY4P2WxEQvskFOUd8ixt7SHsLhWHwhRVGc6/DyXxEbDF+tzuMeowwH8Z0KxNaZWfqV11dUQOURGIK6UPmpJdUgHgjJgET8t6+9eLwG4zo7wgSYtxumFB47jnwLkV52JwHGNVgEEbinV93taahOA0Eh2MZY5/bUObXr5//1br6SveA0P9W07liyXZcsIQI+hVb6j68q3xTzS8RNyx7kNFWtHLJP4zt8a12EiXOjRGVBu8KQHECykBqpOf3cNsEEFCm2Jg8fO1fDHcUghdagfqyGFzzKmuQpbj9Mrcp23mfh6gs/ekGQ6sim6oDMrXYEFhGvdrtTdskTD83LaWCdSurD7PKZMTBuSb0bwooj6Y/Fh0BeAhrU0faUk9dS5BrfboobffX63u9Rjvb/7OpttOH6cf2rWVxr/u1wORn0Mjqv0wuh7O2ht/Gjiscj5cPNgmYgeTnxJJyeHg2nUsP59YkiGnTxFva/YQOpTuJegMwdTZx9/ITTjzKN4lqE7QiRt/hY+SYOJYpApCRDmpmwtf/kS5/WrfsIljaKEuoXvOnsCk1mFh4iTinyZia9UMHo+gC1WGfGG6A8iW29FH12XCJdRxVf608STQ1cBCyNVSA/wvOC1v056IHPFp7i5xYrKpqwPIEcFTd6GYDWApisVoz4QmSFgwcYAnABONJbGTumAZOArCWGtLxXAFuL2sfwDCZfnB+SdiPc3a2NZLkWZmPA/MC7DooyOVg/smE/7ZLNmOO4TfteAsZ94f9Ccn6gdNrhsdwKgnKGOxdYUG7O1X2diaYNNmUxmKplwjcl+Ja3Lv80Hl71Wj6Iil8YZdaLYUh/6VxEtSCUYvsht02FqU2zYYidaKmncrP5eEyD4+fPlPM2ltVve8eWqREXiD8EHC9L2JkZzs/nWBCXWIaOlZhBFlfhHF1TOZr2VHALYMoi6vRVteG1lUijrBIOMLT+sOKR3wpLyPyNaD6uVjeKdZI6Byevh7PNzF3laDXRwNJHr4YYLi7OhsQ+bczzs2CEos/3tkrAFSarTFh7jpERBvTFNhpyO/zF5j2L1exEeOXmUCuNlYjU//IvMhVEiTrQ5b42Kl4o/w1bzSyZXsQEa/0vb4Z/IHFjSLsrbRHf3krY1mJc4D/a//w18Dis0hhmbnXU2XyEfPPnpwOYsRF464S79MtFRNfeCZVQ7Emrr22hNp60RlKCAjRLI9FTaxLrZngVfyqfinyX6pfJaZoho9wB6YvtQR/NsyMcLVYWeOJub/uR8bbClTYpkGXx2WQUxL7EPOg9ylwWowe95haxow9oDvuy0ZaOr3agEHzdxnK0XRSLUxfj2wHk423L/scsm3hF6smbTLysZwNoEsIJJxVmK+fdo+AXQK1TR+ouV5cIq7wKAIkPRzF0GDcUADxKz6WXqNbYTh81wY9gSrBdQf9BRQI/SFmHu8HWmIfGP+FEp1saoB3vRA5LmP1bVJpwmHpOXmW+Na5E6dVaowILUaKTlxHr9FVvmAIGMSBaLu94qV39By7Pk76AbZhXXpf0JdUS6Q7bYBodMSNdpW7hzh6a7ibM0koWSG0bdx9QXfk1s33JqakihWJlvnx4v2YBMcc26osu3o4k9qJeup+GOqhDz1/hAnwTbxKJ2hKjA6zSVSb8Fib9StZ/tOz7Rn9sS9ApZiOeEIRkalJAbIxpl1aGt3IDTpZ8NniNwclbaLteROhyN5Yec7iBucCfWfoIXygXBXilppd2YbAlNEbH4BWHSOIe0qyJ/8bpHr1NZ7z3kmW6HmEJC5gyyuXliLnuOYkFAQ/CcmPVRlKv/6AOUo6ON/vfYDIoz8FFQAYrGTvX6sBu9xy6s7+/KsMvU8NbzY8vH8o+mt1HOOVr0013bs6cUkxDKR/bwW1U0WyepdC4rEy6y2r+su9rfuiHIbPE5soGGhr6tp3XRu6lkXX5dfGJzFau02Hs/6yyaY/yg9Z4Z8XyRZyAFY6UQqz985dFzftaKmR4ujjVVEBjxh9yHlh3JsZI+Fqj/lBPwWCMeBm8QI2R2o1NXWGlpNTZyu2H4W+Uedn3OLp/dungHu/KLX9u0TiyWGF6uyaMEPrdVjZTJz7InbmbTf8B91jJXZ18mNAm0VT23rFvTDlgzFGYvOcfEQIh3HU+hF/v+Iex4oGY7YnTwlf2i3wCYe3A4Npw/azus+XQ8zDxTwrOuBJktIVUm+UlH4ZVBmGy45rMx7uMlEoJ0GlcjvhtODE/JAs4AUNvpfIgJjAEs5PdaqFNI0eLWaauV75I8oInqwNTNBlpSUKZFAatE13zthX/qJib1SSf+9rnnZlNw2umAWd2O++3LLhingqzj4DYilWQd0twhrYSTE/is4SFxOROQ5z8OUGjOrG3XTsZdMlYjeo+7EJBCtpKVt1G6jY7CA+YaPzlsDmNvshXTeDe0/P+x+aHFt3i9hDrzX9iEdqJJ/my7iL25B2mwxwzGLOzcJKCSKB3LVzXSphleVRG4IreyOIdffFCm7upECxsVL97d/LzXFLLBuM8K/8bKJv8PRxtwdyRh7j33j+5I9+uXZyl8aPUtlW4OCjQGVzU7URhp5U9Q55+F9/XlWInO2bObwg0DPYJCWQyDzj6bgO25hAQ3uA0CLdc3nWQBCC/OBQ76xlyA7yvUTavwxcI8Ophp6nee3sEiqeP/eTYMcVm2iqhBfOAeIZDhvWw/6TWdVLBwTuvhQDZL3WTI+xI3wOKtuKeug8zL0eEuqoBT4yIUMU/27D3WThiS5kcD5bbe69KCbkZN7Cr8xNtbRjs3NNr1LW5oT3UTb65HV1PoJ9INbQZUWJxfqXMrIg2TLYw8LwwVFUFhGo0ZFgQJTgxC3OP1g172Lff3aiNegboZnPwM+CNmZj3pvCc7axnXd2KaVxrU6uwaUb5dyJtcE19k0lDvVOb3AgOXK3q8apMWErj9CTFRAfaDfFo4YCUwxIo/MaUxza0C7kADgAMEa4XIM9D1+QTNU4ifBiYLJsS+S7sFqkxCLeCg1eIUReGTVkxxedBPKPD6PpkTYK1Ii6AqCRFBnxVciydmWmDD3Chc2CZgmXhSjlHUFqKSFTkhZNlXlcaTZrYngUrJJTxcNrroZAPp6HxVopxnXWzlTvsPGdD15fPoWR3no85/qRaB0umlGFW9EwnPCyQ2U7Qs/i2r0bQpDAxeKsR+cNvH7yEuCMactjSsO7LO/E8jeN+PRIyOK8Cx8Y25TcQIxkWarCol8PiplN8H7Iw/YmGkd0zj+65BuplzXfuJYZNP9Tlp325NQtQ2+fbGZBnWtEmiC9jAah4kLmeJXwE21ciriEP5MEZDxfRTlQygMnkjgTL1C7hyFxO7EfREx4Vby1bwJx5e8OLQl7cHJZTIQhUzbLvk67lfUkmYSnyAcdKQmnjHVY55bDhX1iTOjuqhwPAGmBezI9tNjXVteq4kNVRhZ4wKpGRvLv8tMq5hPQZcISBlpUeyOxsLClPn6J7DDLV/fp7FyqQKjNQU2b8hj1i8nA2z4Cg2Ec1trAa02wemqxbKMsGLjFEO+6HwloWXNZ9JEq30H5S6G+V5hCHNJzjxV2h+kFaeIEbNNFClu5b1zuFIVBeivomLoQZd/hjIA4eSjTxD7KNhVDdXwLUiJLEDkwvCgpcRgfx8nb9wTGCrt6UohXu0b/OW1iPwpEle/TTRyKi9cGQrAioLyOE+t+nZLry5eC5gxBR0LBYMp0nbvN1t70RBiTIrRbFVXRXpoaZ9l1fY7jbkhVOD/jXgGUBYCNzzQk9EmFQAJqnBgzwyXaGjVQoNKpAGTg4vgREv0ylGkEMVbxfY/apbqE2WpxHBinC9HVlrizp7GOpy59VwHDv1puvt3/QySRvxMetWSVH8NruqGCnW/a/RjVET2psEpfZGOhoT3QVX3AUGInR3duQ79BoEby4hFbbzwRN9l/fVjr8HR+P/4HkEWmO0tvMaf+d48buTO0SE9AnPysMt6bFvsnQiAmc8j3L7EVksq/WWr7DDpBXEhOD/+S55kUI77KIMP1ILF/nKDjXja0Dd1z70ROOYIhH4MaKSVgLAzYBteR4Z4xrbcL5RrXx6VAvYDmHobrTyYCG36tzuoTIhhaMoFzP4dFOf2ZY8cTErPO76p0WFEMhnRq/eR8z5FdolILmElmYBXDDVhMQGhl75rR7+12LEuuFVxx2z4+UHd6gqr3Sd8BMiQaHuuj159ki6fnqQgszXcutPHvkOJoNBc89W1J621nye0rYbod/7LnM8nMWPdBEqlrWZiN41QFKVEjFtbjP0bNXKPhCQ2xD78NZZEo9Dt+SOtmjxQyGZXS2ijNjE3Z8PiQ0MdqrqF18BiE5T6A/HfL29CRXUS1cV0Dm14pB+zovx9h2wEyBL5F4cOkWeWiMe1qze5QW49pSs6IQtdP319WLA7GHaanze/YE/XikhpJzAOgF4k4CDk3vntsQ8pQ57REe3TUKRyhhuHGRRR0PDmBj40+sUBbz7+OjvG8BjFqXyA4nJNIVGakOwa7XlLzNNPZSHYQPBGrA2BRvqVcsZAQWU/7as9xia1PYTx3WWKsPgNXiBVjsW7SqauTIIYUiX3Wzk7/+/wEwp6jN5qYzY12+S5+dgs+vbPp7ICJ2D5+ONcb4fYSZgyfrVy2hMLSMQmD8Lu2LRsri9NyTv3vzzOZb5lxIJv6m353q7S6xJyDHAAqYu75/w7u1vcVyDKu+FmwOclyNLbEiXN3W1wBiqYxxJObllLsrqxBMDRfOAWIbJ6z2PzHg0IMbXoS9t6JvEgsrLuq1HFw9sdy4Hn2lI+C1dUfX7O+eH2bv4lOYgoH7myZSVsZ9NM5Mr/pVexJy50BBZAj3aghBAdEas4Cw5in8xfYuIFp1ciKfkSa01s+KwHvzTofKaoQGD6jiiQd3lVeS5YjdUilu6Hr4PNe+/U7iS2aQZ2+8OhfLk3MqxKqoZPOjMAbZ0yL++DcYjYk9bYnA9LfeEmoThHmK052I+KIm9zrh+u18xc1Sx20pro3dVPt22G8HvvQLgFP+Vkb5oP33DAIRNtHZ9R5iQMzWB0aLk0dxvNy6erc89NEfUJEmYEaRkCN2bXXrqQR8H+p5bL259pc/HAmZ+70nWZjJFaPG8mMn93Ky+uJwnhR6qLNOiXSmVFCLyDKfJoMW/+VdDVwPMl2P0xQB+tLubLnnoq0iTCV6w1fUBDjMFPEwm7UhAQlE4zZFcNBIA5qBge6km4j3b2y1CMCSGF3W/WuBwK9qRqmpI8ME9vPuFp+FZmyKkzVYU1WWQEDHOsUIUU5/9/A8Y9mFs6l/pQWmTU+AOTbkkxU3/WmP06CBwc83fzsy7yCkjUKVGz5HxHS3HBe/6JHD/vQQ47r9v21OFA3oGgoMGZWGDH64Ciyq845bmZ1U8XmysfwrfYzZMC1mgJ1Na/WB8VW8mOoXcU+uFPsUbb150F6dD0tid5bK1cZxSK9zViERrMLNwec6JQhXG1eQg+be0KVYxeM9L5gXgAjBTLUJ8LWlbnsfXW7hJ5/jT/ej4W2bkqUdO4TwAZ3dLyvuz26BsXDx7fa3c9s690Vbhxg+9tJuM/WWD47e94XH81gDyN06WiHbBntHmRQ0GzPPRfXDjResB0L407XjLPsY2tSjH4lUj6SrmVroZNdmRJKVoJJktxNGOXP3Tf7buV7jleIztiK93dy0U/DwAoNcfWxYk+5WdNzzZMufJ2IDlR114DBUxSNORncoyKJmMTFrSUY2433TXX6XfaGTQ1AYuLMKNl1m6J1mI6jkck0p37IWNK1kW46U//qsvlb2xdO0Gy9gfTkBnyZFBAGbwbCLF+/IFB8uKXAdw3QutJ4ggnvMGxoSP+Nbih3IpUJ7jobTEqytc6uHwIZVawYKGMLkL5ii7++mZxsvmgX0S2bBzvrsfNZ/MGV1MrsAIQOUTQ0FD8WVPaeIdN7cHkAkGlbpqYnRmOFrtYIOLA2KEEJAKy8JU/fjeJEsG+/lCx7x+6ab8vfIYlpmKecNkNpJxJyOAQo+bBn3c3ZzwAW5Oa38Wr00nSET0tMgcavokNilafybnXctjikidp6FYM9/SJ+N4YAL8g/M/k+BGK7dw5k1iUBlkMydpGEDnxDl3gBwErEYcmu2Z8TNPmLDuF7ilZwA4U5v/IyJleMWynCTbhHq1TF2iI8HGNHJg1EE+Mu1TRnOia+iEnFlxIWHhIaLm2Li43OBj2fgZTry5qLXaotL1SgaQukEB6MVhk7FZnIyK5jiPTxrFOsbxsweW91XxFvSYP+uXTKIxTULROusiIRJGtu8nySLrdja738xR/c9aMQ5yJ9WszzlPFagn/NTtVKKhdbRqj6f6jOWMn3ACov8GgUC8k/BEFa9yOVDDY3A2p4WE1gjZ/Mqc4RcOQOpBKicK+6ZmXVLR+iG0RYCe7Y0MkdhfwDPPteLBv8BDG0lMYME4wEQzAs+alsb9aquSmZqztYvFV/VxzQuor4UDj0NS86n+QdYIvUHWhOFnPoLVJ76+jYgsscLOqb0dJ7JNULcBbl7HOfDnf5q9k1Vn81dV9feE14n1lFqEfiJS7m1dQ8LGXTypa1qjrE7dtKNEVTRHo+SgvA0duCySImibVRScpNuVjeu1apoCd1YEQ/kk/Het8ArCYrRq5ylo9RnQTWTuycxyFkk8YA37i3Ihkei1ThuelrLsbfzNa8T8GkDuX+Brchb4zx6TwDUnXkhsihaT4uBeBopi5f1pE48a/SLR8w8pI8G17Gx+rJ5LKvvFTo9whstl4J1LkJrLS0GDf7cGzd/Q9TnRquYOqnQ+Aj9noJfNieBSpcHKrOnS7orcd4RPlc4j0yoyvSIDLuPuug99db9uNPnZ6ywI4N92EvmPk5DYT8ocodCM5JCZHiyIqO4ZFLImeSgWTRwyVNzb8Isw03wuXUYvsXoHmPJy9OezplG1jr7ekWg8bEydt9DSlNbLFo990ZGSOk48H01DGch1iYzhT5+ODK+ZMe3DKHg+Sp9pAXuA0Ua6shehSU7wM9wkdQ5+xyx95qLjU7/V/85CEYhRtqkiuyftNZAF9OleiSFvZeYG+IFJ2ymXGUT8vg18+E4SZyFRu+dvY1pbuNmZrHA2WZT/pcUosK3/KZhiF+v920xG63oT1V1rWSjNyhUcNF9bdEaEyRqhsUziJe9ddqNLQaCCchtdPk5CgrvTUXwO/F386aWMB1Seu3i+tw+PjxW/Q+FpjwbbPRQwxtuTDR0haaRfuvrxMB4Q4fSeSCyLvdDntNC+IztW2EM4Up6fph5N5f27RJr/+VWKZYB3+I4mR2SbVnxsxXHyek4+yIEvMB8F36yxdf5VwSbfxOI0T5hWn3eXfMhCLSaegZrtkALUey8Ezp7FluRs1C1xWlaRx4oFokgFrOT7RrvmoQ619dUGNBHqmondyakWzxJG4SUO222A3Ia7sU24l3WWgliN74/9eTOo78uOUw5kBDvi17kx2jehrVyoAlCslSggxvFExJsZt7PGGhg93XELhMU/D2ni8SOSWim2ZiAiW7yvfvABaP2KVj4BEbcqf8xETneMWktIvyt1MytDZlDZFUPZcdKcieq3y946vhTE68J2jmYvyHWNgyw4C0a7tW5mER22iRZheyw3LcZ1MV/S3OF5m3Sv9S2RSJdaniHFmf27UL1c9K0YhOfqijX+OcG37NZX3z/ZYjwBV7E+qneb7kPxldxlaEO0Ke3CDqZYk7vQ5lgj9IDg1XaCxzup9z4pADgju9Gs8C+78CXPl+36Xu82T4gVR1RMmgrDZ0ieDyOAVgzqFmJtEX+ePckNZgifGLdpiou8x77qe5V+UnyaEQWEG7eOApQf7q8ijRD6R3bBbOTr4p1N1Ux4zDq+FXLbwmbB7K7S1ECIUiWCBHoB1ErBGBopqr5k2XvMZpNPPkBepytjR3bF2nhJ17moEvR1Fff+WfaYYINIJtzDFqkaCFBYcEGlmT0M+Yp7f5+jZXoaAyLunphN46AeeCz8r8PIFilxVpaCHky5geJUuB+v1cHniBMhg8xi5RbsbdTz46FC55LqqZVeMi4YzkUdVwdz44h3Z9ua13035tTEs7YicCd97oXs1K+S5jaEu3VmQgbqTWEMFfYNytXDGzEXMNEp/q93uHDpS+dUthFZo/DXrPtInqO7DE0oN9dnj+zzpNs6/sIrNgwASrOzAt7934c0Lln4IXd0WGCB06Epe2yOStxrpnw9ydKOO6ufn8rTnVTbfO1f4fBvWW1oNvX3DIzrZkEUdxk/qKmcuneZkkojf5MBRxxL4+IxRCyI47IP2Ggs2Tvt35R1lG1fNfMZOhJOMCVTzZDpJAw35qIU1DkgtmiwwbmMtb0wcMIKMYEfwTiFfVR5aKvDSv91SFHbEru7Z9rATd1muWDM3+rG6GvQskynQOMM3G2hmch/RIFD5FTTzPcVS8Cbgt9txElxiQZnH+YXt5Dx57Yv3sEH3TmY0K4FJPPMP0FZydDht7mUgmTIozlOgt2WWo3DieT/2RTs4sj37+3ziiF5tp2+0/xv6R/8452GWL+pWkKxdrDc0yEp6rndfwIzZF9rDk4a1TbxXd/1T3R3WOaIJ9YI0kMwzl6tViI8R9vFmWTQ0kf53603xjOglXiPDQ8GazWGezQTJDb8gazAKxx75EqAXmwrF2GRdYOUuxzNqtCNBtheOV0RwMdFkyQSTf8fQNiZZVt8ULKhccdFQoXO2n6E/qHaRHrg7EK+KjsSxcnEnJ6BLqQWs+lq63wRQwwURe8U07dq1KId2pNXq7x73kdQBVNtmjDvuQFMbH2oU55OM59jpbew7ispOQyKrkMn4dIW4fUOIs4JwCqkFl+6Hgi63LFLNFVj1k2SWhWdguCr2oPPrNGkVgXKAOz1/hXgYxPwoESScVGx7+KRbcAKzvycR+Q3IX0RA3e9NMHSFi1Q2tZDBTJsYiVekjVFZa13jrqjltH56NT7/SJ4nuGfuLdx8BeI2Q1vmLvkRqbswLHHbgTAQxYH3qbkGnzfUDA8KK1tHCNml//fchsWIhVPg56tiwLUpdalTmGSamK3HNK92Vg7B5lvzI9su8ATVyfMFiMNq8tsAoiUJZGsYq64gQS5He+ynQGn4DUkvtlOJOUOgNWsUQ4B70YdK/O+XAsdgxI177Lbn1XK/Wwe7g5XlIy+va0llBS9wi0vFVLjkXIHf4bzlehncMTd31shxW/AWNm2HhuIS/m98UfUlRJXyrHJNbIwdQgjRIcI//Dz9GjCUGKkEcREuArRUwGBnC5VxiLgWPv1Fb6dCQClDXl3kBmueoEkvfJyTg13PiqvsEKZ4+WM1rn5kEoy8bZuF01OjT7DqkfAtMHfRbExOahSueCdiVZu3P7IEvQ0YGvyho9seKwwkBQaAxyGSuAtuRFpdHYXLlVyqkfQ3JUQKllfPy9wxveTdFz2Lhb8C6bgZceAMU2dqSqiM5x+ZlrnjqwePtHrpB5D9bFIYIIBcXwf+2PcDDfdG8wh4kXr6VGkzkU4aSna5n20I4cVN9JC4dGIQJfjc69kBaMHhCXp7DwYSEhF6ZMVb0eP5W3AIDjFDew4amDwGdGZIBp45Wzq/D2xIhYasclr2biPyUlf0EOEHnMyQ7c95Fwz9DsEjEdMWdBrXQJ7MfI0zZaRkalQMrJHtSvpCrSJ9X669vyVEvaCWdcyRd+XDUNNtpavJ0hC2v6nSloTH1qh5H3hZB0aaCb/lEIiBNepHxhI0f1Bw0szJhAbmxaVNpEh4EYOW47uXX29oH0dviQIHEE3SVLslFk5tENAxneGaMqGLUgUY502h/6Crfh+P/QLORIV7byaeXj56RO1KoOTOHTxT39S14MLordPG0cABqO9JQ06y7wsXVS0gvdyFytPmUaJa05RUJB4FEzmqHNgzxXYD5JrcmUvcN4c4Aw78M0V1ms+3sXxkRZbKjJu+80jgqaI+1fzvVqfCj7zcqKbzBRF5PbQbXB9LTwBONuefUWJV4Kk+iEe6tKwKVD213oDw8pf4pr9EeU6DC70RKiH82Tvjpd5fCGEJLEfhugfvGQoKR/sJfJKS1Qmq4ots+lt/cC7m3AE1PjQbvQopkhO16o467LZaVtgQDhLDUbKpQlWOoSwQaqcIPIYoBd+PNZtwDD4xzmUVf8u2iCn8UyU15nzK6I+LtKhLKC9dJTFitvTK9b7qhgNOsOaOI9QvYETznTUbgss8dZwl3jrCZSYiVyIkLCIjgjMKI7Fkrw5ZxJ0UbmEIfub8fxPFX9H0JphPOJTG47YUxNk56d+ou/PBP3scQt6R34zUOi8lcT+gjzVS5MfdY69MYMQFKLWArajm/w7INmx8r+IokKgwPL+YhFtBicPFsWG9xOfyFzA0szLoDhFU88jXsrg2JDbxQXMPrzSecGTE3luqy6aPq4QNxnrQ61Z50m3WWcnwhVliSFUZDDCyXb/BB+zhdRXBmjmUd0yhtv3lrGVfSxf0EMwIxiYlSJ7MLfDpqTVq+kJfiOlQ2nUwIfE3mqBozuPsAdNNm2cYSbXG5jKb80EvOdXHB7Yf4UxZq0M5hu9yuL8b1227o3lmAp1VLVkQQyXyxnA32CkqGxdAZY34f0w4ExX0lSUXONFGtu+X1fGpUQiJf7+4TTihBGJwPBMwsFkTcL3eMjGBePV9QYyQFIJfTKzMppwtOZjYwedXbwviLqCEGwszb+gPXXJOSHwt7jqeU4BDXqCRL9gIo11ByZqo4UVabfOL/9u8b7+jUrwQe/+n5Tamwy044pbdWtWHl1uMIYdQVItMuMo8tC5PAT4htiDwSKBfbr0Q6pty2jph7mjsQrzVxNp7E8r8U3exXaUAbW7NER6TMGEg2gZu1Wmwxxp0WIt9l1gpPf7sJuTyznL6EUXsyKDbjkiwvCN/TKsVqiwUY1dTuFsvcVJWarZbgzN5k/Rl5qT07rHbl5lz332qkMxqDTDPSUc6jEgSKc9qJUjcc3TOK1OWQp5amGz8XOE7oTRiJHiMK9d92Pka4VmsAm2jdcEH+pp6w0kXQsEF0HqQCLS3zbf2DxhS2V8m/ascLArnNTLNBuB4CMrB2UkpWHkevQzZYB0wZgj3i+f2d9fv1H9H7oh1i+M7UO3DQeePIv0ItyDr3SRKjnQx81qUuvQiqqGDhtO4RJuNG4DGhNL2UoNYSoCMYma9HcpqJiKSDTgD2ZFQ6mIrqhTD2R9QXkFi+W9eYic9wKSOqqOsLFLLLEHtHRqtvPvVsvHC0HhO1CHVMJEPlGtOFcQngubpdyf0NjU7GNUdGHdCJZeFvxD0LI0pt6H57mWCP8DZnfHSRjyOgJv3/QcOty6t7Xv8d3kP6ikrv1oPcUiE9i+ZHQyPl1557Zvbr1qOHbLdzTTkGafYUs0tuSsDWBNuAiRJT0m72qfgvVqKy1SyAEv2x3pA4ojix8oxwUdfCrv5+IFD2GoDAnZ4reiyxuStTF1ifDDnYF15wgBZCkBmgA/k2dsFgjfJmzJDsjrcogD262/nS0JYEan0NsXZqK+L5vZWADb0K5wrwPjn5S46SVLulwZgFYLiFSarhrf5YHlOocTBFkSaITp6t53Qd81v9ZZZEYqbWuygw8vJzOIVant7k/tr8j9O1Wwnb6Wk29A6lo7lqnmvZcqLBri1Q9Jp+KOCBQnEAOb+GnHAIwVdOGfgZqPXT/FJT+19uOQnel2cI1OaHbNWiaJJyiskUrDPGSpDt6A7bgB7fXW6nSqKhZnWQHsnfoJJw8jCFSQsSzefubfSLl9gdK9CQ8e1+XpZN6OyfZqIqp/fKa7TmrP/YToEK2EyFcbsZbDTVulO/SbRxNbhtI6RA6tXB9JEPudxy2gdBovnLtdC1vJyEndd34YeL44PQsH4Zm0Q/wQ+FlNg4ce4giyumCVmlqMkeUR39DTd4x3kBFxHKk1fA3bHiGs30G7XhDGijKbmzQGN96u6AZ9Hw4L3Kcgc7mGsEnstrGApYByCz8UXEUBsfsCnQGXggMw4HeP0//kQJeWjICuS/83t3MROtBbJ+hiz59SU5yEWJ+H8gAXzrlp7tLamSu7R6gjABo0aXqPMb+nrSlw6MzBt3ViO4rciTkgnz5yEwRHxcdn0k5E+OBIfe8Oh+2hmffBqwnpXv32qUaePVC3pelCn/MlsePI93Timjsn44iLDMkNx598051276WODnndl+IN5cT/o/LeENtW6xQx/riKfnXRNzFhjM8Un/wFC0PB+6D+y+cK3rDb6T3XvntQJI81I6GXKmf4GjnOxJLHr714WbkAibihiUUxWY/iGWa1U7hRTubG56899E8ZDkC8A2QCzZWGgB6QkiNmsCKOrz+dWoCjC8nzdjSgYUEGMdcwyOq3PV6Zj7uV6fCUPG0a97c+0cZMe4y+c7DRJMVRjxh2+UN9PaZKcuhcRiqIj612oA/CQWV+7YPvZEwJctqNoav/h2zJthvMpPiYe/ugog2w48E11tauu6haQFPEkJAmaEheQBJwQKRfi206kYNfs/pFyZdzkOlCEW0MqnH97ZkAu7yzrw51gypept1iqXtaeAdcBAzPU6buKxkuhe1H46xtJ19UV+tHaqwE8lsYAXOX1sl94Z5mgu5Ko94DR2ie5YXJKUZdqLv60p47amLS0y0Faz2zICS3q3+BTj5ID/vHuAeADttrvdAipjOmsbZ8E6ABpGt2ofSgeY5RsRSDdjRjX11qPAgZzN6PPm31io69Ku9y9MwLfuv4wOrqGVUfDjl/icARnfV1M4c1LZb4gMFQwec/hZtQj2PHUo5UTK9IuqI0mEWfxfAX95G6wUDrKu55Ke/7TBKWVpTpjQpDsy2IJicEcGYx6vCh5j4+xQaBYL4WWz20Q6BIhhWOanFsfBSdi1IlFUjX/jreku6YFkTOXN0GvEtqYXorCglFkDfGPj7VttDS7WPQMbLuwudblYyHVdyVXs28MiGVJeKejG1osYr0lOlyjtcmSXPTGS0iNkI4Mg5i1fb+OIOlEbcJOonmK2JwUvPr+oHzGC5dH+T7c7j3JnL5yAlTrW4An/zBqXjkZes25l45iCG7ibaUrWjxnp5LKpGZ0RHZZDwy8mFUnzxdgiPeUF16o/Lw7YDwnBalTit1xySSb8EbbBYNybbrORlp/W3yrumIozUgvXwzwcEJqDG3SwkxEDxikJwPd7tAlQFGokPpcCY598M338N03XQT2GUiVs/IxuagnSQzdIxED/Niz+4Ag+HUlC6+Po2+4drM5fJjGHzxqauaLpRYPZiaNtGf9FZ7fah9dwbxKX+fDOq5d3X8Pb+Ub3nx7keO8VQ/FtYtrMvwV0H+itbMvVE5EVt/3qzuzrChyc7E+DxFimu3QPeaBGTccwdXTD6ovSm4zUNuGSY3+yKtmiwAiFrtyGywd5IWPmRPbjuQr8yFPgdXSGv6ewnF1DMfxlpMJ6jgEFcijec1cwZGj+zQiawgzVjwJwf81iz9SN0iu0CA24vmmUbmXbASGii06nt/qyxY5lIbjx1NqNTIfAW4Cc+9q3jdMCIPhORXJIFMtD10UxFjGxZItcIYu8+kqF/aupbIDxJ3PFrGsKt6TwwwQ/2CWYr+Un7uhZTFK/xycAP1tL/kEciptUPfalIrjlBbVGgIjJLQ1gs2W2yk8swm0rVA25t/wInMSwcIjV5b/QWcaEbFX4vZalcocfU6Bon47Zqw3uCWpyKW8jBNGOg6J5t36aXcXA/9lgbwME8EaOYjT2AlJu1kbpFoJ+OufrzDO5FpjqyCW/lWNHCMH5rzRrrg6sH1JaSPS1XD/tEH5zHzlnwLGadzM081IGR4kizbg7jQlOqibXie9h6En2BIXsiyq42UlULsUeyIidUrUMSzwAIAvmWZlVA3NEnihJhkUEbWWFGtF4GoYA1LfyzNRibZpAMBRJhRzNIPR2rhu9NgITHRzBT53+cC67MnVKQBErSEyWGFAGqsZqBH5Clhoa8kJ8bPi8qLKC7Yot4kV4sJU67tNhmsE+5Zt3+TtDR5V+yJFzdMIt+xKRpW3H9VPkUcBQ583qhrVVvnfqm+ptVE8MixvW/ceXF/iQyxc+Ug/Y8uuTZ9NniU/bK336yQ92SIHaS6XTlAh5/HclYaQw8sh0yv+OvjwJ8u44okJums4//iMCjYSndS+5tktEkqC5Gd9b7NJn4pkOquNO0kMj8owKVcsIFfPjZ508CeFm6DtZbFefoLGYo6d1iCfyWZ4j2PJYliGvLm2ULmEUrg63zBqlaq9IPoovaeM+oxV3GzgSlAb7TZw5Vox5+TaIOH4hpaOGz6yW0dcxAlsu+1VpVTCOCUp/aeY12qkQ/C34FQohmqLx+Veu7mQXYnJq0ptry3vVwJFFyu0i1Tttqo5GtGHghWyWDaWVDf2QlUkT5anBaAHWDneYDhsOqbaZ7ymF4oU8r7/pXOMbD2jKo6IAQQeXxI9pduxV+hpMalqWHvBvA7yUE2ouh8BoT2bV3mNjxO9l+71rxogOl+SLDwHBFAvKieTmVwJQjQZ4JFo2IPZ4Wi/l0Zo872RHRHY4eMgXy6cwsIHnFkzkyNY2J3/EAsmOhTQm8tdNnS+KF3z9yFmLdQlT9bVQsBp7NoxuSCAyZxSZZBylx+lCD+KRTp0i5/SVb8pfPUTWMGd9Hg59sOTa9jagj4POjh+snWXLJPmJ5aKy1pDP+w41DLgcD5P5sMotEpBd4IQoWcyPYwrv7gdO0CJuTY3orw4i4hX13DgQwWKhL4yX9c/N67AVCjiJR8EGAAxQJEETUO9NgAFLvzg3PkSqCAygqAheyPHlLOM6w70kOIEkXnA/kGUljeJJS8f1hAE5tAHwjJDl6k04nORoZqIJRQYOYHWfCwnkpePjNYtQVbLbKEooQwCk/ZHwxq08kaUoGlU/ikdR/R8BTRl0NZx27f7LUgRTQeMMVOm4tqBPU4ZTk1ydA5ufbF2xm6nqTrzy/2Ax5OFzm1mBKPgfojsS8SbzafAfvEpp7MLcl+0puuYgOK33r1jQagGNZY/L68iQIh0Out0zAzexcC5JluLChiHWjMUZrPxnFux6/bgxStG9c3eP5FI2HRGLorPnfxtigheWhPN/2h+ajwmT2EA0pfGMUSXrhd6JrcgZT6Qcoj8zwPGQEdWukCnaRx2StJK8L/sKTUgpb7Sh0imF5haNX70dO4rFUfU5Oz57+60ofmThcfvyYzAgC2lcJ0jDiWbGm6h5Z4tzxK9/vaZ4hu4EDGFavLW4yazI+/hF5JJaznJykmGKmY5g79LlFhreWEIMVRX/tJsts9B90c1EriFjXCxmFa94styd5O3NxGwPqEDfp1Sm5tLRg6e2LsGhiK7MW7kE6tZ39ghVSJA9fzYWcBxioLOAPMZd4QeD7tPDQu8n7bSCe9d18EVJ7yub3QFc+VZy8cDA19bArYQzj4Z3xkK7yCPlJpl3jaiTY81xmswavgfa+I6xjGbNe2i1UrnAT18jN743LV7YvoYIgy0wsc1493xaI6rA4azzbrq9aCth6NB2+MjV1D53oalnjOwo7Gul2tzfP/CfIbSaTUbPL1ilelfTj9gim3YHXFhChVneOthw/oqJ/tSWRt5ivgv2rwZVZ/Xu/uRMFlb+Rc6a6RwpZRE5yyCMQK3QyVGNWYlaY4pgs1baCmb3fUh6724sNAQXCX+IgC8+B6jFYzTCiGrSKbDErilDl0UIs5FQBiu18CSEGdcvEMoC0KNW8tEoTda6tb7WBEryYheOwt5M8fXneNoftstfv6BTJgdDdf3I5OY8yTcmSnPopHu49P0R3dhDKLl6N0NWgQOQLhn+twNTXICEnnjEIOtHwuKEcKkOxr83t2pQOOWGKr3Bd/4VRNZu/fB/aVJblKi4sRdNgdDT9QEun9ZaTyGKk6LHbH9xScibx6Ylf0OxlXTj75xEwrmV17AKKZFbL/1P60UbuBUP5KZXOzC5IFfj7ybm5vJJNnPos4O5K49drYn7z3wF2Q5cSo2NNoL/5ni/iF0woukb/QiWRDP0UyqW5rNcbZ99dlewjhDwykbNJNgG5p2WmO5mWyOUfO2AfHqO+ugzkG6TOkkrqjmKUPqaMnYwnpHQ6hwNz4fMmst4t9vpYY/wpBBJp0izM94qCcN0EptNJGFNhcLchEJXen/3Y9fyuOagGJOe2McBxw5kgiBJsF4mBb3/6Ig8wN9528PVDYqMBj4smcZB+2UoL/mRDBQmbVUNXXjlyDkUmbqMu6+ORHETvZ9qR2EPw1gf0nV9jSTSrIi9oJn6DCTwNsiV1OeDDBET8bHXnhpxCnOiB4Fk7Q/A7CdNTRvX1qBZdZf+LXTkyxm9HGIJv4fvWQhXMrp3mXa0TEzQCEKzdNYAYOn/oMa9XP3KpnulieNI0+S/4yqkp63UtuMendlZISYBehS0rnLvQxDOlxHcdr73J15QJC+XYS0jxFaXT2Yp/c4GApOPmCeTa+PcsVNzR6CGzwhsdxPjyiKSHL/MLxCAZUg+RgXVbc/nF+qKy+LpYGqTQOxm5xMUUqvgg95d1/GUYdWHDmLTTPmyECC7FQhnwzlXpC2xKwoIk47TzjuEyOeg6bO21QZvcZaJcDivJfKt/mn4dM49LMyKCc/AuF5IaeWzzY9Z4XbcRTAksvdyev9eSxXr3Ew8kfOR1j/zpSFGvxZM5YxLpFEOInmpkWo4CUmCJ8nj9qVw33cWJLmMCs9DuAAL90cd+V+oyOcdDr3+jocE7ntfIIWIosFnUElRI0UJaaWB39CbC1rI0hBEZhFdvFBIBIDEMzuN96SrZB5uXwec10OUf11IOawVOsYcS5zYWcfVsnslYTKJ5qKMnWD3QOfte1TLunN4BG4vwGkw3A44r+ghccrmzsAQQPEjm1wGhg8cdvhhTCsRoneDaP2KhRYi10Jp0A23Bj3WToZqjSFxH76qNf7y67I56yAPAftlWdbKMJOF9MFxyvUGgSnPRbh9SGGIwTK9qC7ubaDARQTry4v+hsHln49TQy8c0ng0Fg6+97PSdAoQAn2EAiKQ0G/u61UihoNLtIJMzs5lpgjJLKFF6BvfToEizBpwBJjmfsiaged8DzwPYUnu7VYg0ubTfNkdp6rt23dXQ4/+hRcvxOn4RDTPugfKvgBkphA0BIcBPCGBk5wbMm5a6O7IuD6/39rm2GpVtAUvnV/MDElDy+nX43DgFL+UpPV5oyFGhgzAq5TZfE52+vFisr1oaHDX4S9Om/GC7wCkQ4L5RFDXHngNWNvjiF5CHh50cSR5bvczdswR2Jv6XEGMoj86USx4iCb48bxGj7cJezcXdwQt3p2ybRMT26kZiE+Cqm86DkRojH/dgx3EBlgMl5P5EugZ8j4fg6Cr+7LvJdvj27VsY9cVgx2gHgiWlzbv80914C8a4/zaMgqKnIf1Wiflu90tIeLfaHo8wK4TeTI2pmoJ7XBnwWxI7j4Q0PTK67JI0zHdrCQwxh5iVIZ6gc2sodyAsRXge1SE+j9skCHzFNeCxp4WBNTVCGaxI7GSJ5fWRqZzQ2lU3sySJ+ieZ2GWZYpF/XRvmLeK5RYx/ypopwGInXqFqTERjjYRnucWxuSqRZTvSLtNAzjuFOpZWJMiT2GdI7+el+le2dD/STXpWeXi+OZW9I7Muakxb//Knz+ANjbJcDOfeFfPvWGJZWMBV5DIJmZYqgLX/F+RyCbqJZWHowfZfHgTloKba5O+yZvy4a7+hBkvcDnGymB5A0PIlWBbdj4iBYu737C4k8j0NawL3qJ/K+9zJqPJFfl158ROJqcKXZepk30plskbSlwKk1Xy34uxtFYyHplQOgGGB0ej7zF+ZW5vluRUIPrZkGwMgbqcEoBHwn2CWORmz4USuT+Cl4zMAbnAwAfg0eFl6gh0kwpJ5sv1EQTJbnIUoxxD+tdRy0v7HFRWEKSa4sIUVhbBF++zq3/YYbiDPPUVlEida40Ez5y6/xFCRYT5LSwkcWf8j4xzgZGBRgkyO8uBfLzgpxoewV2YXTtaiAd1DkS/6mjynbyLZP0LziRUe0EzFeCj8ZlSJHunOcHOcef/eeUY60r6ssofGMggQ1voKncyx9qRbFvVqy57TuOBDrcJfCiC7epUET2ko3aY8ZWnX1otNwPtG4uokLIhSsU+n6c5wNxME1fqXYHds2TYV44MDjFYaXMGeJTuDcub7NARcOgaP3LVz0/WCSNgaB9tH/P40ozvKJvYp6z6gklIcyk9+bh2rdKI5ONjOPF8onMnFAbX07KSlSOyQXypynCfZfa4SjHVDA8s+WKFZ9tdNtbpyiYZZUY/jBA8S2jFi224d38ypERRaLmK8FxuoQtVfrmXBIpF61jnd7WmoJ+2ggPl4OQKv4ySF7GQIoFg1xeS+FJy7jC6Xpm/Io4DXOp3xLhuCFxrqdpdf0nZ4plZopcmQM+uKctahtcE39RU+hRda+G4IAS0jKiOt3htTTUM2FlH3Q/4HhwBce3VMAQ3KzkdYkIkZ9UCnNgNOqY2x0Gm0aZAcd1IHvmOk5ukENFbJ0IGoKSEsOSsnxQ0NbyiL22xnXsqUR6i95ZdYSh60hoEYtBmxA/yd4JPLt8SQLg7R2YDe+yNO6ZzKUwkjAs+HVXkHj0JcywydR9hL/MeVCW6UyTmYb+qA09yn+YGO4MhxoCtWMBvTA3w9WU3ixrEUowsTr2ZQmEkih06fjTZ4/obpphwQKi3jTX+ng2GiDofLS1PRyH57reE/oPaZZI1dvsMIPAXi42MIrDnJrWuTxLcR9Nnby1hh7r57h+jGFiX/eI3i5kgpkqOyKD546ro1r0q6WVcdHIy6vLn307vOLdRg4P+kMnFvXrI6XTSE/BFxu9ygthtd7B0lpHlqJK5T5st3X8JlLiR5n/f9T3QlBJcg9T0ZbZMVYtPflyQZcovXUR8J7R8idhPcvOZV+2HsR3jk+BdTZ91GcidpZ9qrnRHqTicivQj4+KbEL4Rp20F3zq1Vhf4l9n8mrEhCgJILH2c1LebBpAgJpDveQnvuAGgSZzIlhjebB6Oi14iCCm+QTWTr+3J+82QUtndR3ZlEhq5cikULBbboLO7/TBeQGMOquQgHwdfwjgxzG4FtCV1L8JOhA82D/+Tof3nIR8o+Dbeefk1owCDZ+zjZP5lowUW5f8NTXGLX/suYy8eFRDWJlKkSgA+a+/7dkL4C6ORxsJZvGzvjLKpltmc0Qc02fdSwXNaioQo7RQ/g1AzmdZsOnKwQQ9PivucTEbOF54dxrtcS5PVjYsroi+7phvXw61is7w3eYHdDqxN/LT6iG3mTgsQbLiY1m3LsG+lR+xW4U6zuYdUPaYsT9kZXJKRInGXa1dJX2pOiZpq8SzntjpLiSl44RflRdzf/UkaiDeq/RoVohhm5eGSVo3v6BH3xo74pBWTj/E2U//UzHPs8b3DPrsj2g+JQf11C93aVsXHFmY/08GT6IBd0bIV5PzZvWD5G6xrpxzpVoAH5Zs13CAXygq47D9KZhzaOcWI7mNlbZ15rA4czgOIRNE0Ys8GaJMA7b3MrUKWTvObwpXaKbc/LE9DWXYM0BDpwB6HpAGDsRdIFLEbNeHGhWVBaixXI53EWp2SznkI+hAtkOZ8Gp41lqolr1DbB4uDIWfiFuXCyOKDPcxJTZ5N5cud/bSqIHTAWaVv01ozIgD8eaYHfvm5Pf/8p0nmRBshXgS9/FWPDqt1kl+gVIfS9+zOOpbKKXrpVQHdKztPZd7HxQXOPSjvJzWcU+owKjuHN26bwyf1kvA9bAUYx2umHbSWqFUPmkdrVEMlOVzb8nbxpQNFCa03JRl70Dg1EmYu+dwIyfq68HRG9ktKAJRcQzPUDvcmWw0wgJ1TMb+sBT7Wl/z6XMqFJdgAsH61TiBlWDpenFRKd73jhXPctpYiunCmiZ/axTD0YQhTFNsqugBRcOfJz8vvlBJSsbXCh7qzCUR84XUY/EJPzcRpQd3ODSqg4seE4VJ7pNvLo29+aTKJftmphaA8Ngz8UIajzowDCQ8Y/tzyv0MLGfDCaTFMVyE95sZQI6+LWzMF2nFwYUCCNLoU6neg64kSq5M10S6GLYJJXFl9u+Szhainv2HMU+TOkdIRlwJqnpLcolbF2UIowS47jZ48TrZKf/XbtCrZ9ttb4ibtmJaa/ITGWHOtQT8B0p+ArS2v99K7m2ztBtY+fJJPMNFXtgg3rUUMOT0VVCNa6ljaz4xPTRek+sZYzlhacB+BMmrOttP6O0xsg45kuoeLZNGuN1H6eVvfCixOeWKGV1tTKbaHRpqRBmwjE3aeG+w6cfBuQBLD7e5BOXFdWhEros0wxXxOaqomlqJeQrOjNNl7ygtHx9gNUjO0UAwwvnWOqFTBwDy2Dz+WREFIkSiDCB+4TaLQqySZdcWNnim/imjJxDuQ7/+QgeJ2uG05Y/pm82zmNMh/phECW/ULECuvrNINSacdpxXKsjh/TVFekv7Yq1UsolutRqYlIahMi8D6C1y5SCQAp7OcIO71iouMK5jDRkJhHjgzvbs6/ksmH+CcrPIpQ6wx5VarbFdEFRMLWZH1MJuUZs4C/nNEm/Woo3RLpXFPDv71SO1Hyur7JGtjkolgKbFJtHMBbP/hBunbtHUex67wPwtwQCiRi2HjymALIF9XjV+8O/V0p1Gy4aF4h6uMTolA2Sy7yESghtUkOydPNoomxIbnA1Jb8DxeCocemnq85TVkOBoQgNp9QUZQI8PANQa6LkvLeBgXx8jQa3lj94C9a+JUElbneTbZi5PvM8Sm/50BdSuNZhlFp6W5NBxD5s4bucHOipkj7PE/E0nIzjvbYnvNqwK16Iz7Z37gRkH1WKgI3vqqAoZ/Lko2gaHMJxY0ImEqrEFfTJSmbSE9T9x3x8iVnWGrQIsOPvfNhWHi5rqRghKpkeN/yCEzWqI1VHRhm12DjhIDI+lgmeR6gbfUwAQongKHkCgTCgj9r+39yJazpDte02njLNutPPViWk5WlWYYrYGobACqclPo1KhbdLTN8lWM0n84NRKxUPcSP5dyAakH/KAUhUA/tCuFP69OWsh4h7cgvfauYVUW7jr5EYxgXq1TNYI98ZvKifE1oAImTUCFLr4UNcYam2AoBCjHLx6igFz/UteoXROFDHUBpZ9bpwOynP4O0AaZPnqy9IsKPWAkWvhi4e+vvfu7s4iUOuZ44t9atM9gFmY/OzLsDInfznLQSq8LPACfMD0waicQTKa2CwNiCc3gYhmCIxQCKBIUrVlVuZ8+hp7apUHvgcz0JvJ2o47GgMCunXYk2OkIBO3jeffj2VukhD/y2QINZ9LWs7zP0MHUzmsPpe0kPuFxEia0JTV0PtsqGhKMfeKZY74dhAJTgf8R+Vqc0JxZcl5xlvl5r6c/IoyhTgWZp3jpxBpGMWdKymPkc8FJArpOvqYQoyj/zqrfg7QUEoFh/eCRX7OMlo03RnJD3XmfNajlg0QyUowku3wsh3JzsCjZP7ztp9Op/KA7qLoN2Nx+o+CmuQCnljPpUJpZ+VmzWaAtuDHO5gWPQczgSJhUm6+UwicVwB2cWf0sZV/FRYyIQCoUdhRWxOgtjW02dO6aEymKLBijG5EwzS4NwS35YFrcJXRQpvI+obljaHJ+8ivv2juqZRPBt+a3Tp4QEp6z2Tpmiu90TLBUIkVqfO0mlLghj63bTLzWlyjuk6boPaN/lLGVLdKT6nhmgQS4E3d4k2ODAZX7PWYZ1FV0SieaD1ulxcgp/FCJCL7BAas8LOU69/1XeWxaYrW7Zk+2SyBYeB76Ui2d8+OQoNDq3t2uXW9HFqeTdFkqxXvWO8DoMquUZnlncTGY2vRRL+2F874HRbo/XGvP6E4FKf0QW+TZ9U6QKFkJASpcrXOiG6ApVXQCIkY6zZeRhyqzA1lcEC+jmJyOnnz9HYCur8I86hurOV7xFFJCThhxDgO0nXa74yRen9gRwzzCU6y3FGSjk0H/L23YwQs66gxUtxfJOPdYqo2toRaz464gMMIG3WZ4vbM3DvR2Ufvw6ITgRqDXMeaPvOKnJGrMFX2kauvxP5idOCe3WnoP26HRqJtS2nqBbkTtnOV1mC/UOsVqradHsxmudtkQzc1/60xGLpXvYm/cnhXmynPWqpPeeunwIgKZOOji+LrmwbG7zojO/o8dAmza62CZixQgeOxAizB76cng8DT72TiGk7nTxjtmGGOThDKwS1Dtn9N9KjYe0InQ0znJDfYgH6BLqzcg67qUZVJcmMeQy1pfjNOIrkhxzzZzcpfq0a7A4yE9sYGTm1K6HALmKeE4DjlQNDxt75ChQsCGXWSvL46cB7455FQTppYBBts04X7eWhjthhM+LOEZlx/CI/8ZhELrpBQ7vUW2fYREhsQPm/84a3m4blXQ8Bjj88uaj58dltSI0B+3qiw7pACXFVPgKXhxoMi+fl87QLolVaTDuMCRwbnUYORnYJcFB6JZwSHK0iK52YTm0zMia1Q27T6nyhB87gchMT6cdQwqwhyliQ7+HGmkx6rnA2BwAPZK3WaImt1aA0LaKMAbDMeRQ9KVBtaeCFjg9kG+9H+UkW3R4kQBHBs26ugk0oLevPwIzcNj0SneAL0+xUzP3ZtGE8hklqs08J7dUaTMx5GbY4yHXaJ+PYDGtuxcL1EPoD4q24v0glvotJwC5Q4g1/e6Dsr/XcnmrKZiDY+Q7mb80Juq5DWg0sb43MT4O47uiWSwxBOSakHwY1872OC235tHdYoflgMcblMQTkMm6wm7dQYqxDcCEndaKhWqqaLkwwmMX2mpv2YSGHh8vi/OkM/X+MeRR4iij7SLonIG8ir44nHtLKYblKpTktlD0OOrLZvlBzHJ7h0M00WAYYdtBo7PQSgTEmrgenbgFxUcKc2E/ODXk7j6VKXumo3T+4awicrrz11QP8C1IuJNZS28YGMVtzHwMJwFQKtmYjsn1yXT2hSsDtn1gudFXMNrD5k4EVIvt1GU/ocf3yI/Y2j1sxL1cKr38zhgvNz2/oY3TrJWDA2DK/jZTW/i8JCTzlnwhOtMq9ch2oGbwplk+T7ghdz+PeOFcC9YM+nvWlt5VPgGAIrqaWybNyEl/vUEAtdd/9WQ/X1I40gQTGl5RBV+YPUKu+YAmI75IYt8II4hPoOJuFPggnYpao/85zdeGhFIUbLZB9DnF3hmwkYtv6gsiuzkzjlc0F1tVoyPHVdCuDmBoLFxQY78XGCTS/4Eu33rcWhHvz1R8PDfsDuDro9VI7LaOfig9hnDyf+OY6boU51xo4dOI+NuV/4sOR4/jnydSDlFc57OCnSd37YgTVIIZQszm12nFVOPO1cRxeI+m45SjJ8TbISgL5qJckWxZxhbvzqFTBLqDqn49jHjp2GtSClRJ8lHG/oAPIVcKx06bNp4QHMd6Ca2IlGRDpVymbitbw44rwj68YC67GTCbQNUY1VaKe3/4KyVfVwniadJI0WQwL8D1mj8dDcdkvQwUUGKiyjAZtaopa6oQndVdjan+PQQBh1uES7lteQnlztGWwZWHbHxQTunCOdf87MCYcpCMKz3gwLag/MrxOdkbLXJrMuWwYcY8+ITX/VhIeVx+5YMSdz+P+4tF78qDO6bg2Rhn3tPGcOU46l44jbGLUVDuOusilbJxl3wyMMxhbbZGYlQQFIbM8d9O2pNXmqUANtsGr8ZSF0NNEYOv2tcpJCBKYjhfo0Wxmj05NbjpMRT3LnIUuIJlzMI7q86a5yFOUMPZU3SfLBMFDyzdWdRp+pN5e5pPbz3mGVHhynlwYGJ735gAYhrgURa9js1Am9ib99alr1i6sTfb9L0gIEtNvDk99F5fqbZiq/hoSMXoRKq4BZiKfc1D/xCEnJqwWuS//8OFULpwHNRBqatJx9YhhqmQo7K9KPLgxWPSxDZO87LHT3SCwUu2lwGw5jW9ykIfW2M6J5yXQBIJSAuweUcaUNNFfqf4AYv7Zi+Rc0F0ORlLZM8qT4OYFTM6Ct6HuTdDV4WONMl0oYdUZLkRm8FHkCWY7sdbZN/Txf1FN3dggJLbuuhbE/JweE6wJHPqqSlzqKpbNYL2zvyMuF4Ie5XttDrdbKnFaxIzXZ/IEPsVxOPifErzKmVhHW5H/MwPS+qyGNGvWWpEJonWA86BEO9h+efTTt6OsRl9gu5BqJ2UowEr7JlrU1wJE19LJB4mMlLkEqga1bxZW/mjxZwBkh4dwzodMdl7v2POLZEfUM1vuePwv/1IuPRgxWG4PPOr1I0Q//hqQJ8DiaBOdjTgJfGfksQf8dxffWOVhvA1jUMHUAamM9g+WGpGDFfpeqEXPgHSqHsFNADlS4VpzeMMd8m2PILBaYge0t/JPVdhwNcrmOzvIjP14cdkbHhaQ3+HFp7fLTQQvQx70CwIQ6DMs5hfDsmN1YxPNaWLipjs17HacwMLjgxfwRO4t6O6hjNV0Lx4yy+EKUY9YQHGvVWPm7gDa8UusiawVBSkDLSTK3qipJCB2IecousCUTC+99UdvCYH5Mewn6tBmQnOx0MF4oxOyw3liIArXl8WRyCPdh1tPoS+yso7luzeMdvgtJbp9/0oitrc9lZkmlGKrtiFfYKQuoXYJ6phmlhxX3/UX1hxKVf7Wh4GJtQlymc+uWPbcwB64nmF2zBmnbZE0ztzJG8suKBi/VxkQRiNsen1Hn5OY2DniD5t3v0qNdNpeWeApwhVUcgvZVoOq9Y7rZTrsmpFWPYGsc63h82WBGJnv7qSy6L2OaScYLtrC21e1cI5CeWth3kUC4UccQsVtAaBWJ8RtK8eUgdLLPualFe6oqf5f+DbB8kKoDm1i0gX2tUva7dSsR4VrKxc5Tj0uIx+ps8f+mIqvBOP/hmhouEO87dxRQclnf3v3o/cP5ZhMlBt8aDm5BNV5pvkrvQceFCCBxJZjoI+ee/j14XWfQvTQ3vlQwOTdptY9AhOTQFYiz1egPlYxOAgGbTAudkcS9IRZeif40Q5FzPDqI7XRVz4FbbkGGLEdNDNLnosWSmMUE2TyvwjVDWEiCanFlIe1sK1bIOV8uHHZoNfFqTm+Qu3CgSrxCZmWz1h8VAb9d3dxtJNz8bbWhr3AHMeTUUZuNPEK1KuORT89W1LuCuSBQ9IavY1Tfb/W4/OWb6UMoB/20ePeGwESzNLHE0GTIyvwcMLqXDCCO+O7wgxZCGmh8THOPUsxSeI9UoDq0JdVU9G3vCE+m+LaRagHNsELrScVltOsDqwMZjqbslKGKL/ky0PwnquIV5cYC86cA+3RerAjrNFOjNYGg+qsi4/8XMrgIps/NX/bPRB6hiae/r28OZO2rXx+L7PwCZ0q/GpSkNCwjWhMrUTB4cekCJkt+nZhVmXIv7Rp560iMwpNnYNVVcGeuEKRB1g0hQsH9/mmFE1rrbuEZHXKQGuaraqGgeRjibpbQ5C/6fqZF6EeJgyi0qhVyvE+xdBrIvsp4RWtKrl+nIyALV0xMDc9t3B9/fVPE2peXhVxLz8pPj0TZHlw7vIBgUBuU52t+LEobrdawRlNKNAF7aVgN1qkfz0KNeXFqPt9CsriCHXBbYpR8sQ2+qg6pl7NCGV7kcmNn4N6fyKBgKtKwAQNN28Wxm7jHAWtglXv+eqUobItUxDFnSxuDj8JDpHwvxlRCDyjTJXaSmYmiFgP02Q7eBYBtTU2gJPB9Kd+jVdXna/Q4ijTlsXzFqGQymd6WVy8/PQLQTPNmX+JPj6kzgpEZ/r7HB4mxhQlXq0VmGunXRXh97yFEXVA9ZdjBZ/5bUs+kSpU+nrAuxYI68OIz0jwwibDxQjE/KvshbMxR+Ic8Yg8/NTU+FLDTvmHfgDnjXg2N87SbAkx8O7gWGrFPah9my/auhuxrimtaDFBoIK41F6frgRa+IxSSELk0CA2IBcHkdWlSmG8QAmI+wsOF4FfwCPpQB91CvEOHWyCMC+e5LeMXPttTfVmtjtfZ1D3gRJtKkHHaNBjr5gI0/Vha800xBz28gHTKVOoFUUtixsVUtAb1lqZq44LI2Y/7/04czPQopjSbITRtagxj8ipB1E9MPO/nvFuZByD99h3u7xTgWcTIEizZKZHgH0uwqC/2hGXqKxdZrQomP29lhvpPhVkcYvkYBYWljILRG2/JVX6ojzgUgMaKjlQWpcN/xJxu1uO+idqacQY1bKnVyMZOK8JxPvPcBhk5LrDauVsTSRLpwXIdlHPH/x69kxVuRVbRw9no9M63tutXbSDZ7YhlGsRPvQEyhGovCVxUUBQvpo1SGPIEXEkp7oSl1dksnHZNRqhTHeqfoxDdXZYDE5OT7aFfEH3jCiG9RICns3i2p4HycQd8Igdc2s4GJFKF+UPPlDi1dEjD5K/WoOvcBUPOW/toUJCvNtXXcz0LOqTJqOZh8mUHjEDUqrd5GaW5mJGHlnpagwhy3FvEhJtfgKahjpQmeqaydigLaoP2Tpsfi2j9hGpEp+FOQCrSX6i9mUij58JOe8XP/ZuH9p7qQRxB3Q8rA8cJwzHUnv1EQIVVnOBPIyXUx1iE/0y2R9gRptIqpzpTgGV1zqZh8OQ+K24VXxPEsCAcb73NRZvxBlWRlJLLIgfcBcIyCRW55jpOksiY3PoyDZnur0HV5CJ7SdjA/ZsaGjRSwFwHt+NHj8Q5ke7haQNKGcTS7tBi2739HKY5t+ZXMg48XYnuhR8acgQec3XO3v4OzI2wk8X/pF6WY+hpGKzgp/LNAmNiVAl6+yixUgwwKVfSn/hxkQg9KxX/MrZULaYize6PrDcveJjv1jQthP2mjXZyO5Wm5++3BkHuZXknIiQaV7Jy2gtBZy6PAgVUzXvLe7mF04hCzoyehqcxoXl0Ogm62mvFttiM0ypoEd8eNjEIkc7Zq02wB8ZoBWfgkykX/C24yl8rvhe0FHWibOMz/SBsxSI8xh6HUrrB8d2i1zK0KUCNYvLJQJqM+b/fRZstdxiutNUEZpp6SmLpN/eSGuzlHcXQOj/wO/IXU0TkwV/JBjx/kgCTryH4IjZCfsnfjUzeT53QP1XZNDxIgAPLonjtRkeoH6I1HMgNVGs9KQiyY/xAMLBzV6e3xHOqbNRsEvw+/sC/CiZLqb9QgFzJSYkneMgyfDjIFN54zG5eSxCN8U71RI0FK/iIMfW8DbRBpkqTxP0NB3GS6HyyFKpWxgD/KW96CFcgp8fmCy6QqPJK/cFMtI3qtq6xtFNu06W2KboQwqfgZubblLOoWQ/89VMG1QMRuu4NVEr3CwNM37AMieyUL1VVpzN9RmN6DOi0WulngzO692iRypaT6FC7ZpTLU1TEhu0L/02xeU0vsWWxFEwbCA07ZMPTsC1gvm5CXE7bY2gwd+iE2t+xIV9Jxx09y6sO7PSqX97A5t5MeOYepfr2uRNTAhz5dOEw9b2bDoSgr2rs/3GZBufM1q2uvJmScAO7Civ9AbUBP2ArKKMVSOn13nOjurWnLmlIaGlIpUlQx4/493e7iz0AcOtfJDvs/+SL/RonOtyab4isdM1NXCrHGZ5Ayx392Q/aNgD6tJY3Wwgp5/jvRcPBsgwmIfgr3xzNE4n0IxLiQVozur4Px+vrQizSv1uwyK570NfU4jF1vqfVTwmrIyb+09SpGPCVs1WN1VoHUpgAD2kmOQTkFAZEMdYwqpPmzktmIAAmAPfIuSEs8OcLShrVXochm3JH1DoYL7P8fSfYlWNBXJwFTwlpByRpUJ+9tq7sDCpRILZyRXT96aPkqdE5omEIk9JNuM6L65+DVsrUc/LzG1yRqeRCLkTxlSjgF0W+nEQrPM4CMCUgqJySei8pmvKV9S6Zob2bf8RoLxQKpPnc+b8r8V65gMmRFuOn5CNiX+JHAiYzpt12xXYvUMCbzDZxPV/YCuBoh+aaUg6JSi/mpv7ekjkYIPZxCZb7hWQ34FtTq7/Klj/I2n1zql6z+j0MaXeRBefe7VDpSKbikcbzQFSFwcKWjBhfPgsms5GPxQXg7vX2GNXMMBSDF/Fdb4xc6SkuAqYc0NrPwmw3cCOnj0qeE5bWybzA3NX6WJCI9wiFSbfdhjASdv1FCaP9WAV1B36G6e85iY8O7mnZOHGWBeWrl/53XqUMS/huwtFMy6OyFLZRmwrNGatfUczVVkti5dGMVe1zj7/SiJUhHXg1FVrVa7Y3+Lttnt6CEbzwYNODvdgP/2EsPU9/TPJyfG8icOxpn3+KNfDspbXogRVFNKieFY6bT5vUg765N0rOiFIAyUgOPI+Tnk9glSlaaqzDdwX9iXYNLeILa4i3jqVJrUM3v0oJlCV/eTYVmgHExcbsRlhAHQb7SLI7k9B7K+3nOZ9VPlAEkwLP7D6fb8yVsEO6Z8YQJb03HstIQKR7/SA7HQKEye+a8w3KnVZGtYLKZlA6qzbxkLcdEtstfgSS9rYXEKYxMYhOjwvUaKdmjwG2ZPnei9cLyVBLE8Sx08G6WKE1qmRBckSiJo0FRp2/u/RPVMJ7F5PIYC/ca590gsC5wp/KQqBIH5hoKkHuFc5efKZ6A81hAX/gBiUqwjXPjEcjWsdARmTFV2up5zUAdcuWpy7Q1FBroC6fevtAoTuMRBKnWwklaayBmYYl66q7SjCfvmUEy2ZGJYZACM5/s7+ykXOw1xFs5qTyac97hTy++W+27H+3JS+7nqqdJE8qdiXI33kwv27smRgDTu8HS1Jy4GOX23sUknBO4/tGrcI3wjHHSSrwUrJO1vYe1ouET2yH7d6lFFk+SwazpAgzQAXRzzS/WQkHnHfq1/NafY6aY4WfRiymdhB8pUplUeZ45g6N2s2B1lZPj/tTf4AUSpVRgWmP4ivS0Lsjh34e+qq1p1m/lluYVuG34npAvx5S0cy8RnK4sctGI2v3tOHEXg3Y82qIIWyoWc6EXDxzXqlmhbbRrjbly6qGApHiJQYxwsAouIv93pf1RCp6cGhgjO4N37ddI8ZyqwCSYj6hxkN9TksMZba/+MK/Kzp/nK0yC/fEADzdavMTLXg+2+fFwk45lcWXPqF3wz+SaOEFlZDfPaXNFJmwQzROsJRxjSQaM4H+dS5X1w7C8EzJCrJM3Nrjkmf0ZwLVpo0LFbOefKsdGghlUrQUMOHeTpuqzpa/6N0oDC5EHb6NZ4xYfNYSIqAaIoZFprVuJ1xMoTNptlrSE2LAdxGBsJYMxjKI+Q8/4QrfFKp5HEA6IuUZ7HSDtkTmyHh2qLr483sQnoB6uqaIfarOIyBnk0FKdwS04g4Bh6Ez8WGDAGsdlR5oIBJIrGMfbzUanwu3MX5AjMe3xF7Qp7mU4mO6n1AoUENieti25ZXqmYAswoUDctpt5GAqELTYkdWPm9qUXqEpR58wG9yzw1LJZ8P/4jt6mpcqlSwickjj6GpEJZ5qBflLxF8/T8a3k16XIsRNL0mz7Ssj/jZ9gE+UWOPC5095lTQLGyEKBwmPawvsPx2pL0gaSfXEixkDNBDow+rRaGOrXaTldMTniXDNvaBQfL9L96lO/qeHdG24dgwZV8/wfytHT3x8jNjkHuKfQ6gmPYWOYjsUCGL8Z4bBXsgOfdq9d4mkDreyGb5xVlfd9GMklDVACFNObuZuHQ2SCNy93tpO6pHWoW09yyEFAgpIDdUVwRn8gsXsUtDTI9aZzatE7Zj+1OkB9LGvM9ZlPpj9lq3xsT3lE4LaT8CZampqfkTlsJLAE7CYIgS3Wkilhrtrclgm4nLuWx3s9mEbPxsgKdDhwYVmqh4/VyWAR/7IgPT4PbeIqEbKp4Uiuk1h0GDygbaDpiwQS78N/f1K87+qYWBopYilYT24078mtIcRb4xdMjbGe/fwmCDzzciMFNhhftFbw85GSAJ5w6l2RZ/Po5BgXIrT3AsYwDXzpkscEclUVvBHcAkpFqn8lDAnJzatB9w3tSr0ZhPlNzEtRJqFK1LoaEoCd16G8V4Bf41102pt6bNtXMvDFJyhuFHbVslEwNqC8o0Gb8AkXjkpCmSL9o0e7trzT/D/Nx9Xv8UBbTyBSMUGvAL7xF5oFIxNMh2ziXF30qGW7Q2z+g22qYFOERDIWT2Y8TuPA3xmEXzfvzQJs4qMXRb81u/YFhU+o825dWFMU0jacOOGAGMZyAyVrW+ASQgSigeVa+X0Wc6g1RIkHA6w9AAjUujndNcLGm109obNr4rARgV+6n/dZSzYhflru1krv4aD5lUpDxc9s94NWaUYxwpP0+rn/WEZwpRlWHUtOC9RZ340puBzfNyC9KBshfok53FJK2nyD99+OEGrIQ9PCxhGrbY61jHwznCmEEV8Ne51tUxBX5KlkTcJ5mD1bszMkEWwKBaITOVrtHhvBYPY6S2C6QVbEVUPzlIor18CDB0E/VpvxJkzToCNIgZ2E8XiRKLS2hteJDewQKqgIfjYfIol72ALc2fktgFSzMiON0mikfvy6hVNRHRiu6SLl7jUOv3NT2frD42zzL6iHviIa/NBfftJ8cUJBkp+k33HY0xlUk4gGa4rDyNlVzirth9SzkMJjeQ2XzaWtgTiLAv/0Hcxv44JxnPfXdHn516WGu81zsF/6eC3YoT7VmokkfcrYFQ438JFu4Lh/UTAydukLlOXNPVujlBgiMdqtlY8ZsPjeBFa4OUKeP7f/r9OMuWM8h5beiXAqkfdsD8wSgomMtBcTqvTX10pveEUlzt30STidzjzcEpPUyehKwHT7JB/fmXngEe6QdifrINmVCN6ewDHi0YpUtj/Fna9an3xwgm/t7gTYglS3Mfo9KATnSNOK+0bTpaAegoT66od3Fj7XwEmbzYIvzxDxmuV0kMt6BWAT4ql4lqI4ki4mvIiopCp5s4ERKalvi4rn9gQOhJfQrIDuKMuiJvv0/BQuwJXRnj1gQxkei7tVeoQTeqQ0NPDg92JTEOC5neJqDfHoMG3Ri9XtqqRhsozFTYL/Hfmq1diJ+AyDE/8RU7/YxULLGq6L944MZ6f+DBEumgzIv4//IXUMB17rc+bzM4RKQRuwxLHlANljS+b9s/3dn3pWHgEAQfNJZbYTqSVTk0rDSNSPG6LmpY+pomr8k07B4Qx5OqWhmpOlpcqYcdOV18oLw9s/0LgH3aZQ98neaSPyxkQT0cVdgyuUuOcNnghMCevLtrU3r4s8wa3lQbwc2o09cRMop9Y0d0ZBIVRXtY0oKtw6xzpklJt4Uk93zfLHDqrxFWNNLDK6k+6b4fHbg4WZvHYnd44fNkK4bCqKuBE6StDSPwbJ0FDUpyXjHXN6NvAayD57PczEtD9wDVxKXEcjNiHjRJE9ZcQnMphSaoYFoDvfYbG9if++u6yuI0fKInAsI87YIvowFGTdpY4G6cLexpjTER1oDCWexxXtYTI9pCLemPefAIvL7oaAlh/QEM8nRIckTWK0l3PSiDfMxqEwEmi60iX9voVNxuHluPVPpVsYT2o0KiGot2nf3hNWNuwcNzFrs1tpxyMP8oaqHdav1NsqlBz6RzY1Ta1yRenzK7Z24bTQuCP08/0jQswioLCFjsk/z16usTF6dc8N9JGWfmSwAt5VbPCq3e6MPQ+1/esiNNS+Nkpka3reXY1SsNfmPRfBZ6wq/pcbAZ14M7VjbfNppg+FiEzkhORS+6lWt782QVz4BVuzTzkdN4zXox9Ks1VFpi7O2JIq4EKyEeR/U/mW/+JGnQCDjVPccShCVVq0Eg1Se949Gz6gllC6020HW3N9bthL6ODyRZH/yuZAyV0Lq3zP9CXM8YoROOIfxWER5RfZ0YuO6owRt6gHFy6Cvj19mE8djfBp11m4hiJSOoEDW0FfD0BaKE4xc866hglOgwu+qc4vlJdtsFq0JPqyVSZcW2dA3NDcczX8vPoKrRtxSnaOe1gB15nK6SkS7Vr0JVi8BxhLTYfP3m8/M/BTAYT6JnVOJyKhw9YJNEOMxqmtPOwdvdWSfC+u87YxHZ3LWjbQ4Z9i9ET2oS3PGRY2qm+TiqNqPgpXYabFFth2hXXEVigCaEmRZ6DLNbelxCsB8C0mA6a1xb+LWePiag5GJ2DHUHokYY9uaGkzfixzSufigdY0UGPiiOHed0V3X7rPaySwvXpQU3V+A5e4VJudFjLAYlR0AVSMUAvC4fvnFQcqF1x0j+ode+Bj7FaY/THQO35Keld13kLP0rb36IjOKpbekBYqGtGV0cqITXt197peT6geuQ6baf0u6m92ZNGeVjfOfhaBkjSVVn1A4n3+syJbPnw58noD2sjNIfX/UxWR5swDqnXqj98xhCJFzJE9YN4lHQPrcyNxaeYkR2I1HVttnQJzRoRPDks1dOp8f2vInkEhsMF2FPmr1cxtIqZxbVRmKUsWI5/9Z/kHQhWEm0ASbMV0W3svlT0KkPQ5AAtZrZJnDtW/X0XPaTzioZ8pdEV3+IuaMva2tHGwRMnQoxjI8mSILOE0jCsyjIGCcJOT+mvWQsLRhyWVu4+drSAkdP/Wkibqj3qi19OaBYsm68dwW9ja2qU7QXlQA8MH+MEcgB+caP8s2TFJ+R74cN+EjUB0kEj6OCeTy8D1PkTfBbcB2NXvN2BX/FId/sRSXHiPMF/hqzlg/fH3w7fMwXeHsNLhfh7gkzxBzv9qrbKlpwJxE9F5CVJPzY6pPP38C0I+RudJnwPPnXmszB3uxxRKJM11KZxE+OjYJc853WIX9UdwSVHxCwr2SaLSJHhXuL7AVxqN6seHn3z3JO5v7FwyoggLWqN+6KINFCcMR14GAxvSxT9WP2IJQjCLjwJcPrH2su+sGvT+6BlyV72nBryM6x15V6sXL+zGUYbL82opkqwMSnzjCjQaghbWxjtgh2ieSobkV/XB1etQxDfMgg3fvZYbFinY9oFsJzpOhSY3TvMTM9wgeTD8D7O6ZHghcP+kqxJq2u5G515VNPeYVjvjV5eSoDquDU7c5H5TQJEzHiyVGADIMwFSSymbU8RRNqVsm0vlAWzex3PuhrNPNgMOegAR2aYZaB+gHggY4vANB3pGqfPBT+lfqeYNBQCJRzMQHBE3rGdDNdLnlpkyVtK0uwSUs4fG+YY96+5I9de2gaSp6dNg4K0hWbQm68rwNAHoDBaJM6BK2iCYoT/6NG7W/Pzrrss+ojO6sDd20tvYvGFcP+c3og8gafmRTaGgY5iZ46Ha7ImoL6R8RJQyuSy3br2dXbMMgJyGvNOhdniNfXEs87mxhxSv6KtNwB+rTNCC1Zf5zWLfpy5jw49fRXbjM1qmvpRHoVEh3/Xtylhn7JTYSY3efxLf+uPXigmYODbOrqh4ut2WIphSBNg+Am86AZEcc0kGg/wxiYsmDofsNPSzn4wwiL03Bhx7cxDKdH1tVTKufV+QTl7liXybxEiafoBgOeLYeJuh4dXq+Qx+CYYJ8F3AnXlBI01hILu/u9u81ybLW7Akr9nkZXqYcvXcfNVoJ6tTw3h98bBeeRw+cO5jMum7nD4QdsVa+tAjxkaHIcNEznOXNlVNggAlGhBY66VS8S1n2xK30yz3KQhagJqtgUwt4Hw+lZix+9BjwIoVHMOhTQdovkWdVrsI2QkBhfphnxBB1sb8hCRz6249N0OYE4UhYA7SYY8pBlFewv9dqln1L1IXH0FJUFO3XtdxUTCkMryrZqzA4jVwv3jPzii0TtLELrJWe4Lx2FgVAsyGbCUiBZqYlFFMXNwDrZ3Nnq2p+Nyr1/44ZNpDKUUMg2wosXPZdriLqZNhYDsWHO3FThziCK92uQNO1wWLzxex29zC4OF2gV1Pnci8NgByqXeKWTpvmeXK1ykMdybkouujZpWyEmFuI+KAsS3hSqoxvc8Ej9PHdIMT5OfAF29A2Wr9mNi+SzrwVxvBCslEpkHptBK/y9pBODfsSP4c91Bivs9Lz+j+v0WzMMBxOeiS2iykrSlvPSF04w8r+I9AmTEJ9yI20QrSPapt9LhsgKJsACiq+JCtgG0izsbZdpNUFvJtZN0KVHPMNKA8OpBwQytYvhVKfuKzlGf0FNfeaYxPMERKJq+bNjuhkuWAoXjGUpFXB2aZ28jPzKQnjFAS/4oSYGz2DxM3Yp/IfBpAG4ITKDh15TZGUxShD0QxelapRvOjtbbPDQXmIZPLqixn7S+dbiUYluqplUjafsEimnAWsPGNNSxHI1zoNQJ/NYItKIiJwIsRvEY29aianJ9g17DdywbfrL9boVrzHCkJ5ZHgXOPA9VH3I86nAzKe3NhBJWXUODpGiIUxjPWzgjRm6VpL46Tm9uYMkgIrBGv0dXADdaJr5/VoZIhpdgcUvX2e5MC5sBg1SCyXQG6TqP8HhpcnpR9li6GEfiz5+NdlH7O7KK4fo5SEVc++kCMmZv+L3opBhEkq5q0AxOj3WAiI1nP9tT9zmvIexObe74Qmjflw9q96pFQ6H/sz6NTsXWOLAueB2FA311kRRWDKwwlt5WSYk5v78d6VlITJCnh6Tu56hqxrI4+h/1YNjRAHj7N80GjhBoZd4prNLEtOTME2lhaGbs42IaKLIcxz7p5ZY8YppByDiE3hVpnYNwg0NF1Dfmd6k+sGpbFzwumJ5ZRRvL2WQ5uHsbgLmCYiKrjvIgyCYwONtTJI4aAqPhPhyZ+niWJMSVCBEv/NqeFDrMmkq3CqHUppEvWSbhPTZ2Ee2ofm2S19dHaqK3o45Da4GFgStrivkzgdWLxL4pW4p58yare3Bz9bgp2nzsmBV7Xp36RU0tABd3h1FU087wpWOUz6DiEfxxuwAWueZizhsP94ASh/G8KZ9gTSPh7U2DaRSa57DlmITkCXJbGrcBVCISaVtnMvUkL8Mee0WtNxbN5m6BNiOAbFGXZ51pzX4PeavsF+weGFeCXrMd27XBOWWjMt8HYg87Kfk2ZGBp1GItCPmYDXGQ8qepJlKhvofqBKyYkMYNC9gHl9MjlEWIrwfOg6X/DK30fbhYKUiRxmxc+9D3dlke3+WyDCNp7NTVpN7JZmUGyPzybwjjf4Zga0Gky2SZwXoyToAMeqwisKpKX/d5WSwfHSUs+zn6d417qfDN6RIf7kneKpkFOrXVrI4YdA1u6C+jOP/VtG4AGUQVNbAcwBkgs3wWTzKeUK26Wwsha8I6uu5smoy/lVGLQx0UrREN61EySaGXjNAmHW9F2jxUvdTLOc7TFdd91HjcDwY88Mlz8JOVmfmFaC6fmy1hq1ZSACB+ilwI2mBX5RQ4AFJjlOd/xcVlt7Le6qWRNm1UgV3/RvIXNTdrbFyY2VBU/g/9b/t+gkUhYsnxlMGP80TX6KrTGocYRDiLH2e6w1MkroIJuxvZP0SkdKtuHOH4IMPDUMCYBZ4f75HwE9/4BxFt8LwdpJydsiawOjAkZcPb0Ybi/S5jlScvWgQNy6Svqn3wlEiKOHUzkgDikNRzQO0QE4Oh9CoYO08MnQV4L2MJoXyRfR7qKDIOUXa+HaZtVXv8mYc4x6K2d1L1+2ufAL8u6W+LzDEXrlayK9wVifOroa9+y9DrDAMWsEYbJiN+rAAbWOZ81bpmjcJJfhmLGBP0pB+kn7RStrf7KhOwVVHn7QytfaRaLyf9yZA9M5w1y3Rl5kTP9SuGjQIec5C04cJjF34LeZ7NkUsqgRGpz7pS6HGkQRZuApXTcbgNl2yF9PCAWT9fMntYZoaRwbCneVeI8Bki5t1+640ICocpOQsU86+882ry75PTV50wdj/BJmmIWb17lg5s71b8ga0nB6dxfrk4uALpi7NhDzGbjRn9BU6K6R3Zkg/LMn0wwuaARsEwSOqKRVnTBexg1IVb2zv+FoPkRBvYLs7+NQpAgsCoDlHFOuymHELA4SOsP1qQfHBi7lLLpBRkYfnoIpogg6BDpWOZKbzBMNxYs5Kt1T6VLRnjtbUcQR1MwDs8U0q4RpfnQJfRzTD23JkWKx066n18uvWTfhOv8xcVcRQAwKZHduXcV8QCy6UeOeSD+w9I198lnHPJ+O3nlGbeeNs1QkUuqOocSX8nKDT9osAnmv4yf3GXaTNQOJS0IoVUg4Y8MH0fG5QwHNkDJG5W/F/TniWs5DXjmy4CYZuw2F6OuR8ux/REyU7L2MvyTN4OYTwSb+Xx6J2yQ1pL9amX1r8yrKbyXE7J+Pw4Xy52SdD4RGSzvHCVJ3FpKSNt+2VWQ8W9LyyKepdCo35B/GASKMmxRUqpDaqrE6kVCjt4AZq+WXN1PfaCM5vBAx0enqTzsm6PcLaSLR8zw445JnMlIdOpNAduKr1fpafmqgEiC6TrNTGmIWXy189WIzTZzWY6fm3nNrbssuu6GLuLzHXw1wKmoWtWvvahPSAQrWWSP8EHuX+Ct/kKMe2o7CshGDdBmt4dPrl+hEewWsHVJrHtN/Wuvq0lmdh2opJDSBpV1DIbOYUTQ8MQBurz76du3aOhMbSrhA2V3+nUdkLJJSAUcHExN6lcGfY4LiwCUhBn1c3ZFWQXTBJ2pE7Hs0bSqne84gor1CF2yG2NeBrcnlZEmuFmNKeHabbLR/exL5AuHMaEX5ZuVk9qltTblPN5ctHQvQ75kJriJx7UQf584pQXspJ6dXCiFNuB44ackMlom9uFqmtr2p4Kbvb3vQGzrTk7yUY0rACFM0e9JCctbafhctUtZwg1zhVjcI4juBMv1R7qe05V31ytsT9lo1D4R0M1IfsjN7EgC8toKOfFI+jlTSZJoLNqAKl1uSgQ6kxlP7FA+a/Sqz/sht8qfjTS3zigaOwLsLoln4sPlNCqRMLqBmZtbVR0asCJffjVUo3+k3ZHfgkbsynz6/WaCEl+PnpDSzdxQ4L26IS9q1Jb7CpnRXoqb/UdYIzyBwNSSD5LJjBpqwgGJ8xCgQWArwkR0y1QWhsmoiqPmre6I2w6YjdW9+MIC1RICkuQNS+8uf5g/M46gu0y0X0Cz6PegW+rzSXyO2KYuRjFL+sb2+dy4wbfOs0il+wt/gLL5ChYWlNDM0YzEO4gDJ0U5Dm+C8WXFARByrU6D3xpoC0G5Jyq6OXe1EoWD40oNi5r2+9AO9aE5bGfFwoPCbgscC/m/PvjiDoVkzBq/YlW0EyJUpgboa3YzTqW5CM08mwp8PBpMxXBx+0aWO4rNylwc0FfRwytH2wtqP6sJaLJ2UmAJ4sU2emM7N01QNZDgdIApH+dZHiwaCcEWtH7d7xZviaewYtfI5aK4O+UhjYVlroORC9AeJaBdlpzNf+RRwZ8B019UxPSS0jZ0oTnGGzwF8xgJA+ncc0B/4hOUoTJK4oClY9frkoN4Gdktk+NjDCQkzSLCn4PvUOy+HASmMuc/1FCNPGWEnmfPBYlRWu30oWAXy++X4YuQfY6DWNb1vnLc/52+tu7o2zOXvYno8jPTxEYif7pazTJLT+SMsv8nSqnelYES3ib+gD+HumRra5YlgIrrPfsuTarh65QBFGQuLY0eV0IDwpDKaaWIhzV1AWmCcnakZwj+YpqJ+At1Wz/QeqN0Pj3oWe9cJ6ufq2qsqE9XRJFJetuz50md/JvEN0sYw1WC1ZqfaLFbmhN/uxJa9DoJMBQUSeFIRgPCdr+EESoi56clgtWvlQFXqClkqFA30q0f/Nrwy1grZZF+5kea5x4d39WXqWpFPpEmXSsBQq75u7kXOIVQVYsL95AzowpBD/mvSsFNs0XY73kjw2wL9XN++yQiaqytxx5mO9cWc9RJLIPJ2Nx1ur8I0BzMp18+dPkIquq9zKtQxSulTaGiQis+YtKTeq0LCaN7ufEekFFnJ76TS0e/6FYfikgv4HQRdwngRf0w4iXtTD8bmQ4dD80Q+ENN3INBk9LcnMSIf4qzcwcyCpG23+A9yQNVCe89OtLr0LWdvM77wn5xhh0P+XsJBv2ZFVFnymn+4B4rvzZuM5XDL4N0gbm1PV9XS3K8eOY9FCYhFO82+S4O9s7gbDxzf+xvIVjB353c07eeux5Y1p0XfVlWIyaAAVSu8YHmocl8F/EH8fiZ95/Jz2aJqPG1yXHlHwkSeSrRUOce33ZWI/0PNMad1tharkEZdQQd57Yoz1t/PJsw+Be35z4P/msaylVyIij1Wv7zaYU6uLt/kisnPuOEwFxqn4HRt6ZzwYqY841qywkBKqoITNRM+E5d4pWAOq6O7tjc3Bg9hJ38/8MQzIH2QsMnOlDRw4sc6Mqyrtp48ZTmLEFMiyZGltLJFy/Bbjyx0i+cNSEDxKklN7cGCzIfr6mijZD8bJ5Mo6wfm8i0tC9FAynxtv5ohoQIKt0DgLtyOaL9goLyvdLbHUyb4EwrBEs0lv/W5IH1HLE5icDtOIm2KrA7w0j0MTc7k2UEwNK4dpAa26oHcyqiVPmSUQt9yK3WAZh5FfWHs7ooeAesKKXtF93NRuxEEidRGlcHIkjfyP2yO9uESJKyJUCRfUEOclVsATmZPLhTQeupyvAeZavEY/Ng/0FFv3JVjZFIkeixPbsbzaB+gtF4J0/8HSKt5kRS5KxS66El1XAGmnQAuxkAyxYfHS+5oy8lXV24en7ODOTMUIp/izHkY5K4RCHp5Q5I+ft+JByyhxMpJ2YWRoIWr6hx5cN3UBciSHykowvyonpSVARPtk/ZwH43z3hx+oBhYg4KkmPiJJh+Uhr08Fsc7fMW0/YuAk7Z8nWCKShKu8j5xuqljJBN9kwCYhUttBdRLKhiTkStb9HaCXkZwBgegnkyEehfKud8axLoPoCHv55MUJdzIktlL1aO4hjVOOFE/7rKVvwijOd/TWBRrBkc7pMNDBttWCUFlhC6NUENq4eiZcOl7qzTnXCpFg4VxFKx6bnQCphPliwLjk6TXTns1Yk3dFfN4P5QdjZn2CAgUhahDFMEY7+9/tM5F9BwOhkDtqftBCMFsKYBNLzXnngng9sZy0g5e7hdRCdZ8CiTH/K85iGkYMqmKuFAqHA7wV4hsqFRIYmFHP/ML70R3nCEqLCj7YoAodRBE/qbcfiqv7CQv+kNcMCErD8ch656xvWtLwBGrD5jVkCWqgorTZ7c0wZqLDAeYk3D/fcfAkcCE4ia4MttGvtFj407Rx6rijsbS33hHc2pSUdAzqN4mM0b3Io5kdVmYn7TY1moznPvsW+tGg1y+FLi/uWRPtuLd+wttvN9HIrmlv8rR3VOsFuSKy8QxMejHCcDeZ3wUYMsTmkji36aKRe4f6/PoNYELE43z75aArPebAWQOOvXQPesq0hGXIebmHT9mOxiIo2xzD1hGwcY0+jN7G6Y+IRXy+o4nynARxFhETUPBro1pGcT04thJJzc9DmLMEO+A1uqQ6v8RpyNjYpObIXTVHoWnw94kYqtzJ4UnVoctxjSOPPlTZjppw7LpIQTmDKpvnYXwgqtnEhCyAqDAomkCq6W7rEA5Qm6mcgssTLxW32sV1+R7/o7R9RRI6dEYrtUrBSk+MlRQhIhVh8FUglyfoUWcNaQW2bp/fCGGu/YXVp5OscgUg6V1qPvenvSbpMr9JM9A3cOlVFrUAPm2U4v55sz2Fp998jBgazqkxKmL/ish6VldqamihMtj3uAiyD4OwAI9MfHmSMvBySdk152VZw0vzx1hv1hG1l9y8mgxl6tze9wEuQ2E+BrBVS7H356gmC1tg5h49IHynmw3Vh2VHm84cYlfFM3tTDU7UJ6Zp59DEb14/VsLoWCUC4YNKqpc699ExfXOrQym/C/QHl9AjfZIiGkEd3vqVhMaiA9e/h0Yuga8cM4DVdqVprl1LjnkVg5mWHPHqyGGCTErJB51ed+e4GxnlFLz6ItnfDzI2EZVLBASKirb6UFw8nsrRTDz9y0WjWsyxjTasvVAlNH2gDSZel2Qw2f1JzYrjoC1wDe6Si5WQDhNSpx4WMMUBCDuCi8jZJVJ1gkOS7Ujw4A4gYS+9ACE7rC8xVhUteDI0aqAlAMpELoS0k/TKN16CycF2uGNX9uknyoyRoWhNnv6s19d/h46LwlLDlNo7yVILItaDt9n9qeuQENnLeBRROxkOcX6Iy2ZRxZRv3WM+JLgUMgJSeNP5TQeZa3p/Tc/tNJmtZOJYOwVT9nKXculx9uBv7zPVv9AG9kwwVeExV93aq6t4Ps0RA0CcUQQ1p1uCtEdZCTwM6kA+g32qDvcVEnpxNHX8BHaboQ1/0N7I5J7YU5QWs1SfWtptK0lPpT0UAieIRhEqv/WAWk+Ox+O9kXppU5XPQH2yGEFnEVwrKvOV1OBjwqBTruT+85WjQHyHzvfMzlZdZVn4AB1dYDkhYixlo+J+oqNbONZo/ewE5gN3mD1kQ0IfvEfXJswlHwe3uvxQqwlvrt0Mm2VF5tQIrhKbN9flUoi4lrxyzwviZJnQ0uDAkGOaauoUnuY0iM8S0mdS+ATrhG23cn7GBrOUjQ65jlEAi821JZGWCWH11/bVhV0raUsPA+a/LwxcwN+YfMfycJqsFn3ThQRRfILyZiSA1owFDmdSm2j82+Gfnp/XavmrpMea94+kUNtkzeZn2QtYhgFVpp6I8ZqgZvpe1AbC1OnDGt5mITPjkNAUj8kQUsKf5NKjwGlVBi91Y2iCF5rOV8kNDeNx/zLguzO1GV5XlZiEk5XAY+zo24GBAA0SrTWy6NTGp/GHd3fTsaubuFwITrWuAzh6iOH36jXABLyclIVx5CKjM80nFx83bYm4tCvXnnbLnf8UMhKyO5KrZLLuC0pPntlymlt97Q/6VyIDqb7Hk6+3tdrSOA+JcuDdWxEgqyFHr561VwOAv1CLM3GUDw15HavN8dNYVuqO4F0YRcUrTAov1Kor29vLeH2zgtxvOu4ngE3zkdbb17+hGcvRb+6jfltfrcrEFzPAkMKe0wk2/8p/YiB0xpFwt+TY5Xrkz5M6S6JWYr6RhoUhA1zj+u87eh0OsklpJ0PjapWunXoz3UXZCImsBeSNGsHKZsFzcmtOfjDAtEuYjJkWi3lJFvyoFB9vAhcEZAkGXPAjtZyryqu/wIceNGvpLMaVIevG4JFboLCI3sINxt/mUsWDqLccG2A0wETm0UvlvFUvCVG+WpxTzbW6ppz1ajM3dYz7eC7fgqSMQtf3JW8f4yz4d4uXsMejJyArEwAtOyZtWktKssJQmfDiUGt2V3Zf6KzpSdxEd3cEGLFDg6VWkCBvA7dK7jigaQehaHM9E0lolqd/6hOnjoQhkbliP2ZlWYYvcaK1GxcCLuu8toVfx3lqweqDSJGSB2qiIc68oyalZc48a8Kvw/BIiPQnQxEscWi0+wPqlNGrrQfhhjqGB6FTmA66UfoNMp/JR3Nlwcu+Im0SL2ydNOAzQmhduEGpJ1TnL+/vFjgh7yIiz1rYPpb5VzyXcSxtihm+hIzaObopBK5bPnm1+cm74Y5o0NuIT9+VdF9K3SvTfo0tc4q+45DA8Yg3HspIoFqk1xQUmCmTjya97E+yvCZNCLhKH3VIRw9WrYsS2R6VIY51FmRrJcOZxwV2piYrPSi59LL5TpS7AFVrTz8kJXekdJ6mEOpOLRDzKZ3q7r1NOCKlN/mA5WGAiut3H32evmbSMI8eEMb6FyXKZBKCSI816thE2l1mMmAl/IqR9qDw35mH/xVn7SkWOiA4FbctLJFF/3lb84xIKm+/W57zMOTMHdVdQOq7Vh1YGEfsviX4FU39BkUq889SSwPz9S7sZsAq0bm4UlebRpf2/rvbWsU5jWvX0PLRTO5mjAs53l9gEj43cs1CtTiN6Px7Ba2l+V3l3veZTZ87aULHkaFXE7+sgtvuHor4gr7FqzsoQ0S4KicOslAFgXN/xxiHNSgNqhLdl8asuDrxfrjjS8+YHBEuNuB/tJ3wzsFZzfhumtSom+C6NRzVTGjYFUG9+I0J9l7lggIY6IQMAck6Z0Xw21yStTvR87CbHNyYCqKAvVJeLO9Y+Bimcf4BtSw9XQSQnf+R/dOpWMVAYQB6IqzsbiRwEpxExs6C2BCGoXu7RqHd5L8ZbUYF4Luox4kvzVi2goncqHTwOTG4ozoMcZtVCYGr5DNnf8taRin8+FtEHGJkMRCGF6z76rIi5wnVKsvEueHO1KbRpxBwC9BSdecqR/P9/nZLPJRGjpa5baKxwhPecER3htkQ6fN5MRtYW0yRuNhFa09rSqdh1lDurZIK0xzKQ/ueo9NgFJSJwhmhjgeaJ0qkc0DMwwzh0nZFEpm6RZeGkZ5RQXhwwm+rSQj/sBR0NSDuYSNf0qQox5fQf3r0mb9/btw/UjRUE6FkTysB52fCq+dyulT+oIcZ+mrUKZn0FWOyXsBjKQBgH21jq9mtpELxL/mPLB8ygVrQ+P5+YXtAgX4D8YNQpgrz/cOQmLVYp4G3YcRl9FuHL6xQ5TqEQ5yM+azNow8B1v7sVu8ODOB8Fj7fO9j47no3Y+Q4FyyzG+qFBa/vQZX4dOzMLxqr8li1CTZh+A9TVYuoh5GhwZ4NuBDir1mlAJmXgHZTWgWbdiUaf2YrjsvMZxA6OGCgWLqbhSPYBXCSvh2ep1h595b+14CZGBQ8P/n/aBxkCjxFbHxDnHNxXJxyS5FLVEGaersAHq0PeJ0kisLbChJnG2kZFYYHRAfYR+XurE1c6PAWPv3gkawuO0gX2Db4Wv3llSQ3m6uhpsI8smNeNmXaa2S2HACUrqDowy+Xo/3GSwfz6P8nV4ts3WFKwF8PREPniR5aEHvfc8xpRNRA6CdYjE6KEv+uJ1FWobw/CybqqaCusHuXlRBHUCFscu9ZWuweLHZuDqlONea6JsxdrA4/fNSdEOTGB7mh/lA8NWCf2boG2nwvv5Z5WhTETlTnq1i9NQ+75RBEQDfKmlhwJwmaJsWeQDQaeefzXGA3b4V+ldOL9vKc9HODSpKgzzYz5DSgvAdx9FRbHA976LSgvovyvOoInvl52u8OomlpgPe6HCKvUwjW7kmzPJx7VbRQ6pZwd+J1wTgbEDKYRAh/KC4MSdewJJnV8TPQ5kknKUGKxXZhCgrfDebYdGp54r/abkKoLmne0eteBEG4msTc5k8gVwMpq8XapE5uFDX4lvO3NAC60LLAFSh/XdNtFxDXnyMuf4LYeaI70jaKsF2enyJz9StStFhO/iw1Tyz20XlFH1GjvLtmePqNm2PzedHXmpBzIBDUVYjrEbrP9sZN3GOofggJMZc9t6Pdn8pRGvWKr6ToJ9a3DTrzINRpJfZkytdqVXKDlUg3xd7xKbwF/DwaQ5cBXt9yzBeejkp/E7YXZJpgU+k4gVJd6Mt0qNmll1c2B4CC+fi58/gwSPVnOaTvwdM/gWctGyHVhszxibYady3fm/Y3BBS2MUas/WHgzFyu8X8AuiYk2pxzUmLd8tCydRPd7iMNIPNH5a0ia0IcdFzeJO7E8cqGJ5hQ1ez6wb9dFRYykKPSWTbLbyJ3nrIt7Ec4ldBTsaP1PKnOXsF3yxzIaxrhsfOFq6o+OQRtbVDQZEhlueehENW2ebLrh/7RcXUnXoHr6kyT1UXf2GF84GSPyUtazMfjlwcbLePY87cJR3qXQfUDrW2P0JtHfVSW/qE6SxwhWpPg29dRCd+l9kP7gaKlFiecuoKQYM/VKsfVnBHxrxMv1psWuDgjJv8+HofbvCzDEXGuBzH43qNgApDOe96/e0usdv8FYq/1Tl5uu/GLodYd2gk3iBAuQ0cEeG5Z/jEU9K3S6MfBkkS1POoIM2fWdFLQbHrXE0qVvpEy2R4eUmNBwdLbz8NKQBZk21Fz9Q9+HPmVZXmpJK3cF29B07HUR6oW3UGBmMR49PeqmVQkz5GVsBSE18M4KS9TIvMWBtlNSLxkxBtOSKdgE/ZbQqE1aPytleC4La23QCZMwWEBLJV7kVtHKRrGskvWndCCqJnBWtPKIMY20P+i23wtbLLW0PIkkS2m6dt2V/1lCwS0XPYLHNnwuP40n6iQO7SK1SdIctQHSnljiUy79t5p1NA5YFpqru8hoJJ/GKfs85NVnvVjk9qJzYfwFfq6EWhgnyI8PdQZS0eR82x/2yheO/Zmnx4bMD5LyKjH9Rw34ep5E1ER/1No/qiqte0+E/0RLUqUavL/yTlXLSbC/BeBAaUlxU1Ruj7sqohINh8PJVjTgpVo9NXi8Akmy9hFmkP0XwL7krWA9iOy1HMOIWFS5dhvpp8UZvkmlo3sjR3+hPiMZFZNAm59Cxzj7lcF0tKaQyYKT0hnWz0vC2E5GIhcuhPf5z1aVI2omsc5IsSVv+yUr66aKAeccDuRoGzKAGtStLd4PdMrr5vPJmHg3EuN/WrwVO6Cn5+BsM57USdN6Mx8Qxid541y3sgdZbzXLYwTPs2eodoXCZ+jc/Xs+B5jG8zRwLkpWiWmYJb6znWPYY2SqoDHojX5F44tQQ35OK4CZ0NcC+P1D6VfAPCTQbG9ScXQfse0jmRV37uWZCIxOeYHiiQofhPdm3CKsSv7F2i2LTzp65pO3VKCd7i649rgXwySmBEVPpn9rinC73DITfhajBUTK6li55XJcJhzhTihiR44fWzxtqJ9a6GL3H70WvRoR4h/8DboBjVhwMYm3TkYEH/OeIbFoOoERrQGQcEkSMOEQvqElPUxBRkFTdOJ4fzNKvnwbbDYkjqta4vcq8xfFj8Mk43KihHr+4SVo+shsNUGrZqnvdq6mx5S4sTXKHkQy5TMoL8spaxM9ek5ll9F87qWc5K+W8nbBodc3oBlRzugOeCYayFznpwxpErGKWAHN9TL90k+ISyL4dlKhCUnni3n6qRuoN/LIhfvbggbcd5SkE3A/STu5RoQdGhJfJt9BIabtQIqnjJmkMPpJWyaGmeencQmxC+g+Ag7ywvaE61ynd/vNTr+Ev0xomDGgB6BuQGER0jTYP/uypWQXp+W5ntB5EZSFW+kojBCG7WGyer/v8ZjSBj+kQzEFP59UE3SewPx1MrxGK9logbctGx8UT2L0W/ojEGzhYrIdrMq9NmnH+RZn6kj1ZiuvmQPbVNNJNfnNnWvmk5Yf9WsUHMZAnMpKJvPnfqpFa/7/qXL7GMHq9RTR4jgXLe4dzwvRnncdyQaj5pbSLXLymR0hJP9XxS/g6h76dumXgyLTLnjC12CmWl713Yp+uFSVMD2Wk75cyYux943SRcgKBiAW10WMrBJPoxdcYXQ2n5k6mQx3j8x67Iu91kZkn7oskHQfNah8RbkEfpqOcAHMr7+bi7q9NrD/tzVfaPc3umlDxpd/SkagyAAwQf2HmW9ARzNaAB24TOkIxzSRAbH/Zdgr6hfj2C0t78khT4gSVy+iPbir1IMY6qmg+ARcGvLEUu6gDJoAMR+BCmtjU0EOclAfBkKsQfgKAAuFwigztBTwhdMV8lu/u6Zt+kMbA2+i6EVbRSrNAgOiEgPNguEovTSF6+pIoDHS8onNTQ+99Twsd+RgdHQjoNDeP44QwbjvsMgL4TGMTvDDD9HmlPYIast3+PA3YEjjug2jRgGM77oFvUedZy4eWzU4uK7utZ8YY66iG+NOfIu7MqOclntUBc2RjRaRj4GDpxyt/towgwQMujNWIWT4m3G6YzSI2tHeTZHyNhSP2UP2VSpl7BoZZ3+7EREgHsS43uVvKyfH5tBfOCUKgDjvwMpOquMcnDJlGjxvizIf5ym0gHlZ/DP59XkYEKEVNTZ8wFm+i5N8sRpGAeeZN9CtewqOviYzcpKavAIL1xgN59gNUZlTwKAc7Q3x/NSC70oAlk9UHtaUC4Zc1CEfqw7mSEX+QBnMsUHnMtQG5YyaIlG4AhllmeHbuJENhxwBIcUqw0uigQnGhvPEC7YldQo8Lwa/wumEv99c92HVOW8HHj3vig0QwxCFJxPQPWvJ5JcRwnYY3febBhN17lno1J6/YgsKadu633LBS58lqbrUIdsL6qWsZPOiLK/PEwgXqRZvxek3rllEw3lAaTWsIyPgclvrHjp5kgW383uMynCaGGGyRrnht9pNtN7D5YZWVYebSOcnu7ogwqhylpkFshgrb+lCLnYd6idKjyE6sBQ7dD0M3FPz7tkrxVIlNcqGVxsQ7e+YscRvaqF8qsQOfBUuGsW7vutNn0aUL9dTo7byU32xSucL3Kcr7aod/Kvvn7Xsm/8fKCd/X2BnK0chOKXNx3Qon5EDFSKWAZwZbChKgdgAqlVPdNsgJ+816NkNgfH/f51DWlMeZW0NHpLdD0WDJWjNO+E7uKOpWeZKCPulkKUFjy7Mp2ea1BCRibl0U31o30PdrXj7qUkluwTNyS3tZl2MrqasUjAEZqRa8/hV/oXajxcmx7QQ+8JI1gZF3OXwsbI24WIgzPFiPFmS1MA0AynKuJsUqBJ/SEtc7wS4xh+Z7udJOeaimSXZ2zF3U3i3iGVsMylI61aeMAYNrkhydxt3Hb9P23a/vtB1ugcBoQpdWyTAmpqWR3G9rb+DcvGsDYI/VkEQERTM9mLJlMJGieNKh3WRV1MLJ8CxF4CfbgJUYuK/h4QPaLSjJijqLsZ+XudmdKqoHx3sxrML4wqFo5LdGuwaK6iI9FUWDY5gfoKEhOFMbO9MwF+wZPXqjbjirWjOGpxGBU7X1dqdzq9ZoRMxeZe6bvB1ZXWEhoAzXDD1WbZxXrKgjnVU4xX5Vg0899BLLteUi0Og/zkXfIn8RWFGrNXuedJdIYrU/rqQ0ZEM6BuXBPW2UmiU3mT8tF0lPlhXO3lE5hnFLFRsXcSXmBa+xZKY0FI7XeoPLemwrSDn+83C/CTuN3IgigFoVW63MC8wxb5Hmv06ao8nijxjBJ1EKojPc64cQzLpYu/RXnBQd97BDtHGbshCyWvFl85324ZbaVr7pWyQwzoFQ7UYWIJkMMfJILS+r/hrm+P5o8LQv460EACNgcHba5GxgDz7NntKygva3s+n5vNCOUNEsDHKSmBmpgQO7tlssumjdoNQHLM1PDfRqMig0yqLyq2a56ZExVJJ4DSvaXWw01+xYv+31BkXQfUtDMIxhTzTDRhpTslw4pmPFKv9eGPAumxseiYIjmzstXGiZv99l8bcEuT8CTtuMdkiVRdLDGtVo7O9zTxejWazxKPq2f/nJPYfp5SAoXt1MSKPTkwm+3YmW0Iee5rsBXRpsStIGlswFU2AUwJo2WuxCbCNIGhlm8Z/Z94JhQNuYi3AwmA/1vZGs1ckEn4PoBUbBCxdT9461WWbwuQIKXSbC3y41OAasEXQDQlFQXyQaX1+VZR23HxeCFIXf2OZHz0wAlqYSmNH88iBnz2Jro7tcp1kQv+8/LbhvGxFvjKoKT2YDdryfJFBU+amFUeHiKxUwpxl7I8//OlZA4lEwjPboACfCa34stwqU/Ln29lEe24Ch7U/D8ORU0gCcuCiuuryUi3PyLzR8XIjwzvdYfNmdSiSUv+gT+eTbuGFYKzKlduZsXFlMeFK375xy7NPoD+dp9m/wces7rx3Q7pDaQjoH+T9eT0K555ZIrUyRp3kS8l26z9zLIdIDTxauwLtp6v1hKBST74IrBxKOasszGn2vTv+s0rtuUWfdv9PSrTKQwKE9nkvSvFMU04G4oHrFSjJfsI/LlqCNl34sjsmPJ0BCj8ye/DUKVOQSeaRuj+QO7gO74X57EfTIjfvFzTregDI7GmxEJXsTKiYMi/QDgrDjatehCZb/CZRXT1o6ERcf31pAvYS5h5iT+UYfzjHy6pQCZPdiGsZcxTIeFHgSisVHV6BFo0JwgjHm1Ltm793DZoraVHh+QAfgzSRU7Bp1/y7NHX96S0gOrHgI76Y7upUCSmjrhdkisk5SEn/5B1F2zxPVH9WtQV3fatAgHDMlPGjkm8hdP7ckcLvYtDNOkvK7+W6DL0YWlPoPjAshlDxFtG1B2BI8mtOXVmMJxUdQbd5B5k3FphR+77Ood9ikCPWNcMG+RHkaYXU8OiPXOmKlXCpgjW+qw2EtZBHs5Us9kpWd58t1egsjuqYvrOqILQ05XxiGTeQ9efEtuBKrw2XZ2kmwdEro0L6iHEpwtuKOmy6xLX+zfxFbhO42Rj8vuVj0EXPJ1pSMgoxEF17MOEoYRcRnrP1eVd4ZqONKJHpkAxbqlmzfCOasCWBAcfly9JUMgB+br3+2ccWGnSYUQSegmBR4jp/XZc+48LEAeFvSB4Mfpm8+bG9pcigoDuem2ai7PpANtSuuSao9xX3UJc22a8eeoMildgmS0DwfBfL4JWuzSUkUPlh0f+E/XsVBJW/T9H8dmAhbOu05IeV5PS4rlPk6HAVmsBrvrXjEwl5KXhGDiFb4hgm39aY14eI3ReXi5NEHYQOMrrOXMB+psN4y5lNnkzxzCe3lB4TPRXAeyoL8yDnPZPscul0hlCqELS8M8D7HFezR3jyrm3LrnZeW5tfxSqimuahc/cVSU4B8RV2YY1J31/vkzeH/GwGqZCEqKIeWiOYr03xY17e0wma7pUDc2246ylvk4aW7IoiLGvaexQgPrBErnHI8S22IXsdn9C5X2p0NZ9UXzBZE7C2W1gnCvWkcoD7VnK+qtWUt/E0/C5IVSRZz5/jL4+HeoEeImbU7if1K5kLh3KY3/soSSbHeLRwhvF8BvMmIbiMn+Ik/DUmfa3boH96xOwBubDCNT4nxToJ1TW3zQ2o83eM7Oa/3zAx+pm3bfjYt//tkfth2XH71qtYHa3DwjFzrCX0VJDFAB+bGXVk+Td++AYRZXl8Pk5V2TQDKDQ66l+1xi3NKzUzNhj1oVMl/cIe1SuR4WlZaXw+SlG1uZkdafr2HUi4DkXlQRbTFAj0xFU+b7iTeq5GafHVmLqxIIddXa9T7Ec4YxzEC5/4tveHifrAkFJpP8bwRyl0yNNK/USP/VEM5In/66xoxNC89uzRbBN7IddkYv29sAjT4NXHE9ZM0HiIzIqyTPSJpdK53Kzq9WnJCjPIOiO7T4pOvt0g5fE1uW3JQDu1/oJIumNHcxSxWpCnCzCcktGDJma3XNCbq4NKs3fUzm/hxLrznB4j9HCjpMQUpCstscuvse2WxxbqdZbwm7qw+IqjaIwEORAg3D4yqJNjvq7FykiArinS7BAQ69MhtvR6/lMU/7jJDDEqWt44kXT7esvCzOXU3tzd84NJDO3qKuuZA1R5Tc3k6MnSLj8PZsuJr9bden8vZI5DZLZSfg+PcusGcJP48nkEE257DZye1OucE6lDM3EqedOxkQGuPnJa/uBMl8gHmyi3amupxdMrBsiG5r7t6fkRUzK3xNtSQ8GgtGVZA6Aywm/DAJZClW+3b2AIrl3QE10RF2bFw13zKzc4R2zK0+GwKWiiC/aZ8yAtvlF4cVGGfzR5tpip3vKTbyboiMsOFca1sVC1Lzpg04ly4uY7GkbgEqADWArytR1p4mY8soBj34SjgAgoVx2143k+omwKrDi1XJTADsttYvyZUfRci0XITODgaf1AJPXyhl0AM1TvKzZWSB//39nUbpV+HGV8SwmH8cgZDIHe97c993cEbBxRNt2QYh1acsKRQrMomail6UTFmdGV4vSve9sfzCJJoPeO/zUeN4I0+e4d63vx6cGiu4EqsqlbJ1C2znUubAgUcZnXyJ8/QV039f9qkX6zz82LbUwB+Vc/sEdsBc6Gkz0tes2vjUDTR8qKr0/yRlVQrV214ptOmZJW6idJPfrh9OVRyphKd4oJcaJOJINuiVdiZmfIjHjPqOdXN+D6R3GrWPti6BQph0sgmW6wZyPjQyLGlC26h3Ia9tB9BXmO0vHmy0PfyEBXa0RFgAtoMzTpKtTlpCJ81YoiVsZS1jmlZ2HzTsEK/2GrR3t77C1eZzISsvAX/nWi2aleDu/+yv9u/aKMdVAAUpuGs/3ROSDoceEUsgvWSNsNFezp+G+VZPHYsPWklzpwXZRTf5+Hb/yMCHde34uT/PUXimQTVOwvgZcCxZjYADO64HOG0AnL7w6zgVG67XGp4AwWEF7EuZEWsrDWr9FcXO7OWExBAbLpzNzvimk/aNn4NrFmOUvn8hLoGVkReLWY3R3MK5Vb5TkH2B6gVPFHa9DmWn2KlGzFaSlWFKR9zgE8pqJ+KyK831pi/07LJ281o3erylqTzVTMOzlS/JswnVo5shNWEhLRakj7L6dDHMAV+YYRD2PL9Alziogl7N4CANijjJzx6uaOPYdvLPswyWzuBW0+sTlp8IOf/ET0uxdL6FcBPaG8s8vkjZmtnJ93EQCI5UUohvQRd0Pmx6WO97MWjPEngknX3FMexDL6zv/NrOK1Momaz0b1QE242M17w8ZMmHClM6QzJ6zA+stk3xCrNNhTijmQWu0FqcXzLwbTyhsPPX+5EKw4gk/kg4d2+8WwRS15HhPzudq1/sTcW5bws9BvL2nloHuW0VUOoIssO3d7HePd94MyvrsXOIiEGctB/z7+2Z4SmG9KwqKzAX5emAcWGcHbakfhDYeQl5guoLaOdDQxCO7f6ZkWi7GHZ1YSGojAAhi39+GRwZGbDJalky4qf1I+nJHq4SfCcSxJCSCmB7DgR86v7CI6nDI1ACeVgj1VXvc0nbE37DUEyxBwmYBWJjTOXrif95shi4B27PYJ3cjApHpsu6nUqtX585cp9roCwfcRe3Oo1yk3ZdVwy43UVzQuC7hI4QJMsgnE68AQzUEr8e4X1PHTrwjEgftXm00ge/VjYTTtc/VDyM4zDgmkfwk4xj+T1Uiwi7dYZXp909METimxc4jy389nkbggD9mHRGFe8v1LpjrT/gFxEh9uDDQ5XJmRacZLbdJR6upeqFJkdMnJgsvjAZC9PSQ1UD/GB9oaUKtkM05grG4+iNFe+r8ttG6PLnqk0Wes7zpGuhBDtHZFzEuHDPnhZ0Knt/3WN7qiLPv8WBX/Y08L/NjaSOxP5Nn8yJYejYwQL9tFQop4a/gDE9romUN5OGoVeFkn4N6UMV9eKYT4RJyFaM1aXLizELxqMtcVPPG4wfBUIOZrqHyCjHp0j1KDfabotBhVbeFgVm+WYZ4u+9HDCTshSD3PzStVkpY+kiwSjyP/aBMIHh6F5DU4lQR2yr/oZaeP0ANbt2IAveqHv2XERKkGT8ZsLBvMZNcf4MfEJe4G8j2u2xr81DM3Q4/ksMlRO0DnNFIAd5oLo7qejKrblAFpHGvPgzWLa+HAKC8CTO+brl2XZCRdZtS5VRRKtkmQGFJ8pKYAIQO0zIAheAaTW5IS4kaN/5+f+odq7it20MjT0y0EwjxnAal4PnaTqJT2+2hxS3hWZKSRqBIpWui3IYQsPMgj51ggzA+1iXeVi1Q8NCdJQoExMrFkXQxzGf2QqdxxJAiWKC4PTfyLZwc/qOIZmvh76aEVP85RGxYedkc9fxw0YO2un2WK9A3MVSXcYv5QH9uBdarFj2KxBz1Kor9KOJODeW6xNRbkpg4CNDN0i1k16p0L4ILftf3DKpgeaUbeVnYrC0SLaUCfYOkUi0DLKUIZF2toPEiOo97HB2tgAmWdBsK3wZVbvVA4LDPUPZxPwjE5l+X9pNf1CRSGCr0YvU369gSn2t9rz7UPtS2b6A1xGHpjDW35hXa8IWx7RK2pbFQgOiGoT8568hEb5qXgv6eY6Vb66WnmyE0DxyfelbrqOzEy8QWW7sOKWCvHVjkxG8sUoeVLmPsZ5vz1q4HDfqLLhnGv+HPy/7KAOzhWzCy8+Eb5TnTpZ+KFkCsiz4IbtavEuVDk9FuzlergxrV1t0fnDmZ0dcUbfOOXcY5bLApzAszBgJA8R+CdKzbhewDUsMJXLRAEPVAaSGhY6quxFg1/6bLW0pXab2k4aBiuuqfvOuPNCBWpCxyoxmagD5ZFX5DsR3Cnt4SfBJPfu3xiakphQBc+EbRkuN3IxzFIg30dkHJjcsemFHVC7sSxm6JSGOVcar+0rVO00/xH+OFJRnduf4EaVw/e+XjZJR9uQAlSwW1Vt2yWn6QiZIXLuYBBfaOl8Lk6cgYWpXCUlqIhz6KD2cN2bUI1ovMtkT4A+/hP2vjcrv/0e0BYmDXzaaR/UdPmAdFaMTRQG1MyPQ7OpbUT/lyzpuLlve/X5MzK1aMGg4JKN6kjDUzBW/mbhynLLqumGGzioBaOzTdawhPTrB/ivrfYHjSqWFh1CJnHyT+sn9tbXwtlYXcXM95ORd/oSRRuJpzId+1sGUd/gJYSO4csAs3ULFHZX301tZcOA+ep6hZRcFoXacnjzrPO697qLVaVKzV3oSd7vD/bAlKWE+73GjjWX0QhAtgr/SE3XCpcnASywKECiCuzWJZ9V6RmeBOSuXS+LPrm+aZMlo3NTodfeJQLChN2I2X6RAuu+FZqkqZEmbORe4wDp2fkwqG0BhaB/sHMEyjMNtQBASnlUm2hKsx94P3pFhMXASvYtsYupr54C1CWlriyztJ61/GdZmT2OzZyYyJOVZhs35c82IcwgjPSLPPkOVxMxFiqxLC83EoAAdRNEjrdCMQccvGn3M//5Mj7bw24Xj3TCphgsfjvysf20RlF8F1v3d2VWLn8E5y2lo+fway2jzrW/U02KIEsVBlBnTgQ8q5Ve4lCH4jSqi/q56gVuKb26LI68PoYoFzTjafs7hB6gOVdB4fvrgHAd/1VVxB0PLBJM7aCtlQR+Q6JP8pMzWuVHti2RpRziMAyU1+YhgQNS3Fd4YAiS5hqx2mStJv1wbB8IbdK+7+mLMzXL9u4P5uuw2QGwMhBgN8ovnwz+WobdIbM6ZULIF4RWxbYa3AfexLFB77xoNaP26YIFie9f9TzJKk17UB6Sqc7mTEoV3CtEj3VBDwSlDDA4s9htfq3iw6e1HCzwj3EvgxeQIJp16dPGRuOkVzNLH5aM7az81gWNWEkD43oujXN6TuaP9WTz8V4UqzhSwv1x+a9MnNcrQ6jLE0ErVipgpyWLHbYFXaCLR5P7KHFugYx082zOWCyLfCWBbLiTrhW9wwGwNixZpYRdLwms1wZDeR1q1doZPssS+fgUr/t7Wh70RYnfQUx8KIMKEbLh4VBjO6I+K8RV4Z3ly3rM88rTo1FhFpKjC0bvKYJr6DhoMshcOEiikj688Lt8Y8GxjG35xEj1uV5I8PgGrJT5pD96Vi7NdUeJJ3bQQEXtOZU0yrdNs9U+2VFzobSjvx7acyYYu4xbhlpf9DOPT0kSFnwCRJ5z4FiD0ZHncn8DSPyMzvYEq7vHblsrpHgw53tOrz7bXv2L3sAPMsOs8KFoVazP2iTRtMQpcrN8KndW3L9FBHHTqup3/6nDGFSt6jh7Ri+9aYw9/hv/CIHeUHmz4QvREpUs7ViyH4X7s7uBk8yOP9njwERSBE07NqeI/FnIRvccJmP/PdC3pgIs9Ssr4Fir7i+wB2Jqx5nhYul1tlkAcmFXkPFK99A+GIy8wCA7E4J+9i1cfqNlkbf6b8YGR4qXc9gqJGDAIcAhIfxkjIHfwOB9YNhHAnN056PzK4pvyEfU3gmH65t8NRBUSlc882NM+Z7qXTg4dsC3cSHebvF+B/LrYEcd6eLYN7PXixyIS2sc86qLLSSklMeewZSZiUIoX7FL3ljgvNxw81w12DHxXhxg70yRWsr60i06UOB4OrquKMP1+oZXYPnonMu2wK5ZJ2kApbbfMpqHYePSNRiGU7cWQ1lpqaNiOEyJWR8XIBsCgVeCAChVqOWckDG9CuCYs+pUOpyYg/BA2eTCCDsB4wBjA+v8dVIQ1bjFR5+fqc+IcaPdbcI7PjV7Bx25cudievoniaKoNlUAF4KrEvrEENAvRzSbbgAHa8/SPhmzmM7BxKysPprWDcXUCJxQtP5WykKhpW4UXfzUm4DclohwEhzQhIie0J+VrWe1duJZTTF3yEMnKqLue+tRNO4kv6OsZD06e7gzPahn+7SjiaD5gsts/gaML83un7gRQKaKsKQ1r4caQj3KKwcvShvgDb9zr4Tu+TCC3LZo/OwlCKadvKLIq+pGtvsrYf0FuG+TznEnDCOQzzUxMyKmcN24cNPw0IZoNJQ8cP2GXM+ET9B5z0VWLwoSi+WwYHZ+jfqvA20SEGKIXAx+af8OOf4K7nR0nUjeKpwr+J4mf2nTfHOZqwA99IiJ+i0a2+sypHCShPjjhjAUDn2XlztJQLYt4AiAC1RgQ0g1EbsJMjd7B5wvig0Nw1/bympI7aBz7/1/8Afzb8d/t81qW//OTL33Oa3+XgsE/YajIfs8927VbHw9GNV+KPKsbUpYvfYCSDLDXwPpMJ/1lbVJ/l25jMzX7y1sePm8xF7kuKHz5oVqrHIghynjARkU7TBx6wJcUSISfSBw99aNTLpcX7BLG+nnUcUOhG8Se7/VLqykJzNFk9fCdZ2oAj96YYGccUirMzqqdnXy7nZeM9fRdtB+lI8DD7mWK0LDkvb4JNuu53rggEXfY+vSEuHYV9IW5MOqQg7/NSbOgCjS0yEs85vcBB3tFaJrDOHqFXA5+FPOsROFr/EptG/NSmyHk28g3PDocW4GoH8y9V1lQZ0vmiMcftAfSurrAH5LVv51VoNN6LeBhbChgWW5v91tRZbtaCptza34LFS4YAmH2ZMCFNWiGtPJuu4TkdOeto8p29B3+l2AS8x7DdNjV/8q4SFzRoYfh+k8zqO9tImKb+qIL+LJ3PyIxGyHzPzDBuDdM48OpAQNXapnrL2KaQdmMHGmrZx5CYDUu20CeJsZiHozvYa+ATr2opl3/f7b62eTngd5TiPY0bkFYy+N2TRQtKb9u9N3MXCcJXD7JJrLp8D0pjTiuHF9lHrpq6P/8RwsAH+5sgU7QuutuO8lOWzyeVlAylARGkZ7kArfpR69XmjKeAzJkv6xPA5SUFs7Uv7wr0CDD1Thoo4OafonF8uhS5Mr6A+4N1xPFNi5l0IlP6FRsWoW17zZntpGcmGrpsAVEUvVkormKF+nRkfn4ASypjUU8CihqCnKQXumNfJzEjceem7jQ/ZRBFmypDW0lR1a5cKX0Mj53A8qAXJIuQwI5QqvIxpfAYuq/ytwJAuI91aXyfDhb+Qtr5+RkUxRTozLq6Nf/wsqmwhOKv75t87634p4NAPUroKu9UM5cjr3C8bwAfLQ/d88es2CnqMdWul+0t/GzE02SkYOtYsNpnchS5vUfIS1prxlE4DkgqTedPKjKlu9OSvZGhCfBc6jp69qWTaoWyXILTuLz2HZXarhIIbepqKq6xn99MHIiEXldKtGk43aGWsRdfEm/VeLh6cQdHTkNHgBCv92zQ85HYnN+Ac6KZSZkrGlN85oJUpc4u1XmXgVAkD0Tvx7MapUB9+lCIoffIiX2nUgPH82xmKZuvXZF8zdtRs71zMjYZVEWk7ZLIxSwrY7gh1NKqucHW2xM/BNpZAAOFCnyEvzB6aIZulMSd+Dd1RurrJ7LXsHHUdB6myBNXSkxFPV5PnFUvu8thSQ6M48ynFx4VegZyUbJ7lMhBpN1drZ9BCK+LN42RbtGb4iFA8KLl/SeC9ZLj2zkIIsU4l1HY0uSsHNWKjQfZI0XryEdTeBx33JUCWUHzz/0h/Ux0PqoQZHcRP2Ri2rIpsPI0E8T+UcI33Q6r8OPE0f0vsDCuGPIgzK7T/aAJ0nah6sKdgx2eFMpp4TJfOrcYFV5IwtbCS9OielrMt60LKAur4UZcJBUi49Kliw5xlyHrHLE+hSMt6BMDrAHmT8u33E5s/wZdCiU+qlvZRfHKIn1Bo5npGOS2t/BI/ezBE0im2bHHe+7niZx/b+RyHTAk2uQMBk4e//S7rol/9eyESap6yKz48w9pyybA4XCVza71dDcCrrZSWWXklgP3wmtHZw0GKj5KxApLf4UwhA4KMoVtf3RXnCuKejJyjTrpp7c2y3W21wZi7sOgqI+gXEZjHSS3Zlkc4Ft/2R8xblCNd826OAc3Q90ELz7jJ8l7ab7UgZF6/xUaAkYceu7cuWb+saJs03tC5yT6Wr5w1nn6RzOM1Ki+fEuIy25LtS9N3o/dOjNl50rwKXVYKh5XyYeGvO42K8St7Bzm7o/h4WsXThwSeqMjALGSM3YyQmddTM+/+jk54y8B7t8QnqnOsfCqXG3i5jtiEduBWGUnk/nSpxdG09eQlqo37YSaWiZnreLLvoH6ix3bs9arUTdRqzfPVqdsPYSCTBmeZghbQUvEx85bZIc411biW0ZUewpNWPxhlCkmESUm7mIiOjpDsEnfa26jUOkkEHwUCISWlSbAs9mxt0T36UdO1p5hcxB9lfTXihOjE9p6k5biJt0bWYIO6WV4/xX0VmlNdYcfdfky77qm9zflMNwWkb1wemHcRhjWtmLtt4zUVQPc4rn39/WmiFP+/8foFq6F5R2zQQPmgihuLQ51Su1RnRc3rvhdJaBKaRrFQTIH7j/MmvK1/jpMfZFvEKcxqtYqXkGg7x67ou3IyuGrqvLAYIm/NTHuFM5ZnQpQx+Lb8js4Bs7LVnHQWZAm5BIWuF9LKyxNcDKgMM5r6Fwk5wMYifmu9I2m9KoP17ocM4v5PSeSfU/2rDODJf4RAXkv/VvJnBzxugUVj/g6gGcHOcLZnfxURytrNjsvtPH8IbwTCRlVHq9lcD1x3uAMzm1J5JYZpkxTEN5kjsAAZRQEs+7T+0cSHlbjIqb1qwQRZ7sOTmQU5mOcc+QvbSQ6Yr4iZ/SPGBFy4mHLsc11pQRwFwRX6PEAbqlnx2IzPgbyTAGIf0PuvpcvxRbXbyQKth+VR3Zhohh+07+ctGyq1J9Tdv1AxSFjB5cOQnp4bFFCDpoRwI/cSfMpZf74A7uHbxTxF+L4llhb7cK16AzwAKe/DKAk5P0VS21WC+pz1Eqbh8PuJaBEC5mb8/alOsNaLuDYRP7DBOznW8uOB8hoIA2PV4uNfvAsxw10XcNfsZMZXGT25+Vp8bu56sRwYKEGTMeX47ACO/TZDTZ0VHvt1NUmb7wWzS4moeXuWQ9+KzA0lbKh8U3+bCiw/GENtwMwkMoYgBP3dfZ8ojjynTv7gElAcYsTEVkJYh0NaFhResbLogzhd7Tm2qjSXYW/yaELERi83RtvM8fJ9IIpReoQdUmqerHwQU+Y0PeykghuitCPdCFNwdBc5os3CuZq6N8TCTEDXHSQDXumrDG6uDHebB5izOraGtwLSrWcawg8uCgwXcPL64oWAbAOmP5dLQr/HZY5yQmjbhKUpAwOX8wFYN1Y1iLeUL0igxVTjDl9trNBVdYgfwfEPv6r1+1zri0k0XY/onLHKuWgiNE7uulddpDMY/QdWCVbGiAEJK9yanRCqssJ/FR8B7mbbUp1YrXRFKW6MrJ4hn60Tk/dIpOdxicE6unmso+LRL0MYmY810ZuysjZ+qj5eATZQp3BK1ZrmNFN20PVP2WHV/lM+HYkqz1J+6VMhMzIaY9cR5Qh2RsEWLkdRBIaf8PpuWLJhKhpIAAw8ivFWvA12IXwEn9iZgADXR/fTtZ5xoQWpsuqi5dIu5kDYxIp8SFjm19XqNXiieup/P/EThvtwtYDQgYrWiJA41WjLjBxQ8B532MXMWNrRqEevJu/qfkTqsvNrpx7RmPhC/2rOZcN/AE+j8Qcvpbpkeyj1jPAPhNqCJ6UMI81lPaGma/dyTaHQIf3FofzTamb/t7fVGbP3OqDVWcM2qrO0wRETKHpKgjnsy/oyJea32GD6Jk/uAKETBb9RE5JPaOLL4Tk8NF7cVsLHcr/eN131dBAc4110KFTS+ztxBq2jN1J7VxKyOzIvrIslK/lCST40AnJ5Ho1rjqYqI641MENn9oHBZfv5wIsj08AeysENwQdp3WLTgzmt2sTleYdFz5Q5a1lUjEpOb1x3HtmLCetIuHwGEtLVksb3KAkBeVNXwSngYVTsvOAIIXtqORgXBaWhBQgOGYG+EJjMgPK2Hjj+C+aUkHatNKYsCM9WSCEG6Sj9SmZ3d/jqadKI+Oy9AovprJu13nwTmPU6y1VVl1/iDNzi039Azy9pfjYDUke5O9HBvA0WhoBeJf+2TGQ2pgxmlfz/fxnePU5etBxXaByaqBMhMxG1/A7Pk/VZuv3zlAAlwP3EGAOKsomcHPfHQnFDnW+4Yg7iOyBYKTjZSywk5hj6CkB6fk1DH2FBIAx4eqje/CU/ZXl7EzEamYbEf7Wi4CrDgfBqze6xNklATZGFnDPeA1fEjOrAQLBmTA+NH62Yaw3QoEzVjTw/8sH6gytekFnWfMHnWQxcCWI7wMXvGNDvXtQUztqrXqbfRw2Pu5oclsFvyuEC7BzAefbp1BF92lJpNK7WDiCBUU7BWb7y0Ly9BhuD9XmNU+rGfpxWeoDUPcAM6sAEcKfRzvRgCcAcTsoU09t8EEh9o46wX4ekf4jhgfChHaPMBHqCrsT3J65kgbGZj0y7lDbk3nmGsXJKUTOAO4CF8II22jrOEH0pjpNqsuOfyJKq7a9E+Pe9RDHPtIYNUKSD3q7IfApYBfh9li0jGYOTR5yuxrcXaJkwcBgZQWKr59Th0r4C3iKTXq0khlgosv2iFOrlf+ozlllLFZwknEXUW8ZXrBPaRTvFne9Ic5IkOkysYSlvdXm3kZqmemz2LhCPvv8VvmEfL1rjxway1UNTccyEjZprgHRYlInb374BFgXqh2c+1C0NgZRDmcSKQWrYvLTRPGp2BYb0TgPygC0GXhNZoE9hgkOsLwJHeQJGan/nbr3tOs+Crv73KG77wmjyv6XFh7jCaUYQzj/57Jnm0hGbh46gboZjlBhy5r2s26gUyP1E5eU681xboHlwSBS/AZtPjPYNBLDw8FsGyIxQVZ2uBgN9TivT8hHCKWFRnjy+knshskHRVUFJhnmP3AO70Rw+Qeb/0d/hXuQsd1OXxt4wBsNrwplf0oFBQQzJorf3/dh6ybWkhPJPZiol76n+K3Q8nfxj+L6WKGpR+4GfTW+U7SJj4e/XzklWDEhzaWtOdBfcy53L1WOUuGI7c6q0pS177w3P93C439lDVXPbG3oQUIsHIhXwIw=="/>
  <p:tag name="MEKKOXMLTAGS" val="1"/>
  <p:tag name="MEKKOEXCEL1" val="https://kmallc1-my.sharepoint.com/personal/david_kma-llc_net/Documents/Mekko/Creating Charts Using Excel Webinar_.xlsx"/>
  <p:tag name="MEKKOEXCEL2" val="zzMG_Chart8"/>
  <p:tag name="MEKKOEXCEL5" val="='Link Existing Chart to Excel'!$A$2:$E$36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GTheme201610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GTheme201610" id="{7CACD4B2-F3CB-49A4-B02A-9D2D7D06221C}" vid="{602D53CF-ECFA-416A-9C69-3ECFC5DA548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9630444F605947AF1BA8DDCB5ED808" ma:contentTypeVersion="1" ma:contentTypeDescription="Create a new document." ma:contentTypeScope="" ma:versionID="00a3c41b9dfaa2b45d93922b7a135921">
  <xsd:schema xmlns:xsd="http://www.w3.org/2001/XMLSchema" xmlns:xs="http://www.w3.org/2001/XMLSchema" xmlns:p="http://schemas.microsoft.com/office/2006/metadata/properties" xmlns:ns3="2ba1fd62-6dd1-424d-95ad-fb58ae518d27" targetNamespace="http://schemas.microsoft.com/office/2006/metadata/properties" ma:root="true" ma:fieldsID="2dfeeae552acee333ad09ae25764f874" ns3:_="">
    <xsd:import namespace="2ba1fd62-6dd1-424d-95ad-fb58ae518d27"/>
    <xsd:element name="properties">
      <xsd:complexType>
        <xsd:sequence>
          <xsd:element name="documentManagement">
            <xsd:complexType>
              <xsd:all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a1fd62-6dd1-424d-95ad-fb58ae518d2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A07F64D-A744-4F02-B7B3-7F727812DD3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1A522DE-74A1-468D-A1BD-F887DE305E44}">
  <ds:schemaRefs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2ba1fd62-6dd1-424d-95ad-fb58ae518d27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DFB8957-EA2E-46BF-A3AE-DB3E02E4D72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a1fd62-6dd1-424d-95ad-fb58ae518d2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GTheme201610</Template>
  <TotalTime>18483</TotalTime>
  <Words>339</Words>
  <Application>Microsoft Office PowerPoint</Application>
  <PresentationFormat>On-screen Show (4:3)</PresentationFormat>
  <Paragraphs>33</Paragraphs>
  <Slides>7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Gill Sans MT</vt:lpstr>
      <vt:lpstr>Arial</vt:lpstr>
      <vt:lpstr>Century Gothic</vt:lpstr>
      <vt:lpstr>Calibri</vt:lpstr>
      <vt:lpstr>MGTheme201610</vt:lpstr>
      <vt:lpstr>MAKING A CHART USING Excel</vt:lpstr>
      <vt:lpstr>Ways to Use Excel</vt:lpstr>
      <vt:lpstr>Create a Chart in Excel</vt:lpstr>
      <vt:lpstr>Preview in Excel and Move to PowerPoint</vt:lpstr>
      <vt:lpstr>Create a Chart in PowerPoint</vt:lpstr>
      <vt:lpstr>Link an Existing Chart to Excel Data</vt:lpstr>
      <vt:lpstr>Re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P Analysis</dc:title>
  <dc:creator>Diane</dc:creator>
  <cp:lastModifiedBy>Diane Rich</cp:lastModifiedBy>
  <cp:revision>473</cp:revision>
  <cp:lastPrinted>2018-10-30T12:52:35Z</cp:lastPrinted>
  <dcterms:created xsi:type="dcterms:W3CDTF">2013-11-13T19:00:18Z</dcterms:created>
  <dcterms:modified xsi:type="dcterms:W3CDTF">2018-10-31T15:45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9630444F605947AF1BA8DDCB5ED808</vt:lpwstr>
  </property>
</Properties>
</file>